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4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5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6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7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8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9.xml" ContentType="application/vnd.openxmlformats-officedocument.theme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10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11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12.xml" ContentType="application/vnd.openxmlformats-officedocument.theme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374" r:id="rId1"/>
    <p:sldMasterId id="2147484456" r:id="rId2"/>
    <p:sldMasterId id="2147484481" r:id="rId3"/>
    <p:sldMasterId id="2147484580" r:id="rId4"/>
    <p:sldMasterId id="2147484618" r:id="rId5"/>
    <p:sldMasterId id="2147484645" r:id="rId6"/>
    <p:sldMasterId id="2147484664" r:id="rId7"/>
    <p:sldMasterId id="2147484692" r:id="rId8"/>
    <p:sldMasterId id="2147484711" r:id="rId9"/>
    <p:sldMasterId id="2147484769" r:id="rId10"/>
    <p:sldMasterId id="2147484801" r:id="rId11"/>
    <p:sldMasterId id="2147484829" r:id="rId12"/>
    <p:sldMasterId id="2147484860" r:id="rId13"/>
  </p:sldMasterIdLst>
  <p:notesMasterIdLst>
    <p:notesMasterId r:id="rId28"/>
  </p:notesMasterIdLst>
  <p:handoutMasterIdLst>
    <p:handoutMasterId r:id="rId29"/>
  </p:handoutMasterIdLst>
  <p:sldIdLst>
    <p:sldId id="256" r:id="rId14"/>
    <p:sldId id="257" r:id="rId15"/>
    <p:sldId id="258" r:id="rId16"/>
    <p:sldId id="260" r:id="rId17"/>
    <p:sldId id="261" r:id="rId18"/>
    <p:sldId id="263" r:id="rId19"/>
    <p:sldId id="264" r:id="rId20"/>
    <p:sldId id="265" r:id="rId21"/>
    <p:sldId id="266" r:id="rId22"/>
    <p:sldId id="267" r:id="rId23"/>
    <p:sldId id="268" r:id="rId24"/>
    <p:sldId id="269" r:id="rId25"/>
    <p:sldId id="270" r:id="rId26"/>
    <p:sldId id="271" r:id="rId27"/>
  </p:sldIdLst>
  <p:sldSz cx="12436475" cy="6994525"/>
  <p:notesSz cx="7010400" cy="92964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917" userDrawn="1">
          <p15:clr>
            <a:srgbClr val="A4A3A4"/>
          </p15:clr>
        </p15:guide>
        <p15:guide id="2" orient="horz" pos="2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565656"/>
    <a:srgbClr val="002050"/>
    <a:srgbClr val="0055B0"/>
    <a:srgbClr val="005AA1"/>
    <a:srgbClr val="0078D5"/>
    <a:srgbClr val="5B9BD5"/>
    <a:srgbClr val="D2D3D3"/>
    <a:srgbClr val="6E6D71"/>
    <a:srgbClr val="0A06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13" autoAdjust="0"/>
    <p:restoredTop sz="70383" autoAdjust="0"/>
  </p:normalViewPr>
  <p:slideViewPr>
    <p:cSldViewPr snapToGrid="0">
      <p:cViewPr varScale="1">
        <p:scale>
          <a:sx n="71" d="100"/>
          <a:sy n="71" d="100"/>
        </p:scale>
        <p:origin x="564" y="42"/>
      </p:cViewPr>
      <p:guideLst>
        <p:guide pos="3917"/>
        <p:guide orient="horz" pos="2203"/>
      </p:guideLst>
    </p:cSldViewPr>
  </p:slideViewPr>
  <p:outlineViewPr>
    <p:cViewPr>
      <p:scale>
        <a:sx n="33" d="100"/>
        <a:sy n="33" d="100"/>
      </p:scale>
      <p:origin x="0" y="-128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10934"/>
    </p:cViewPr>
  </p:sorterViewPr>
  <p:notesViewPr>
    <p:cSldViewPr snapToGrid="0" showGuides="1">
      <p:cViewPr varScale="1">
        <p:scale>
          <a:sx n="87" d="100"/>
          <a:sy n="87" d="100"/>
        </p:scale>
        <p:origin x="3149" y="8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188E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AE-4D20-BC20-036DF0A26A4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BBD80A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AE-4D20-BC20-036DF0A26A4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73737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AE-4D20-BC20-036DF0A26A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64076976"/>
        <c:axId val="1064088344"/>
      </c:barChart>
      <c:catAx>
        <c:axId val="1064076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37373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4088344"/>
        <c:crosses val="autoZero"/>
        <c:auto val="1"/>
        <c:lblAlgn val="ctr"/>
        <c:lblOffset val="100"/>
        <c:noMultiLvlLbl val="0"/>
      </c:catAx>
      <c:valAx>
        <c:axId val="1064088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rgbClr val="737373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4076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188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D0C-41CB-B5CF-C0B37955E523}"/>
              </c:ext>
            </c:extLst>
          </c:dPt>
          <c:dPt>
            <c:idx val="1"/>
            <c:bubble3D val="0"/>
            <c:spPr>
              <a:solidFill>
                <a:srgbClr val="BBD80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D0C-41CB-B5CF-C0B37955E523}"/>
              </c:ext>
            </c:extLst>
          </c:dPt>
          <c:dPt>
            <c:idx val="2"/>
            <c:bubble3D val="0"/>
            <c:spPr>
              <a:solidFill>
                <a:srgbClr val="73737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D0C-41CB-B5CF-C0B37955E523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D0C-41CB-B5CF-C0B37955E5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7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r>
              <a:rPr lang="en-US" dirty="0">
                <a:latin typeface="Segoe UI" pitchFamily="34" charset="0"/>
              </a:rPr>
              <a:t>Microsoft Build 2015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6/23/2016 10:52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5923788" cy="33797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pPr marL="406034" defTabSz="931467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912103" y="8829967"/>
            <a:ext cx="1096674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/>
              <a:t>Microsoft Build 2015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831580"/>
            <a:ext cx="6052312" cy="361897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marL="582359" indent="0" algn="l">
              <a:defRPr sz="1200"/>
            </a:lvl1pPr>
          </a:lstStyle>
          <a:p>
            <a:pPr defTabSz="931467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6/23/2016 10:52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6040627" y="8829967"/>
            <a:ext cx="96815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0.jp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2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3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3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561638" y="6267914"/>
            <a:ext cx="1382812" cy="296502"/>
          </a:xfrm>
          <a:prstGeom prst="rect">
            <a:avLst/>
          </a:prstGeom>
        </p:spPr>
      </p:pic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703659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399" y="2284961"/>
            <a:ext cx="7086439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60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6036" y="3768007"/>
            <a:ext cx="708755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ontent placeholder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273836" y="3497262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39628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28389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28389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83" y="2776822"/>
            <a:ext cx="10450655" cy="1553826"/>
          </a:xfr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8157" spc="-408" baseline="0">
                <a:solidFill>
                  <a:schemeClr val="bg1">
                    <a:alpha val="99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1354" y="5790429"/>
            <a:ext cx="10450657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753" b="1" cap="all" baseline="0">
                <a:solidFill>
                  <a:schemeClr val="bg1">
                    <a:alpha val="99000"/>
                  </a:schemeClr>
                </a:solidFill>
              </a:defRPr>
            </a:lvl1pPr>
            <a:lvl2pPr marL="621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42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63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85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06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727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487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70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71363" y="6243278"/>
            <a:ext cx="5443995" cy="301347"/>
          </a:xfrm>
        </p:spPr>
        <p:txBody>
          <a:bodyPr/>
          <a:lstStyle>
            <a:lvl1pPr marL="0" indent="0">
              <a:buNone/>
              <a:defRPr sz="2141" baseline="0">
                <a:solidFill>
                  <a:schemeClr val="bg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presenter and dat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30217" y="378529"/>
            <a:ext cx="1335077" cy="28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107840"/>
      </p:ext>
    </p:extLst>
  </p:cSld>
  <p:clrMapOvr>
    <a:masterClrMapping/>
  </p:clrMapOvr>
  <p:transition spd="slow">
    <p:push dir="u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29663" y="1476626"/>
            <a:ext cx="11375536" cy="2003405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040506"/>
      </p:ext>
    </p:extLst>
  </p:cSld>
  <p:clrMapOvr>
    <a:masterClrMapping/>
  </p:clrMapOvr>
  <p:transition spd="slow">
    <p:push dir="u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521" y="233155"/>
            <a:ext cx="11375536" cy="7722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475" y="1718019"/>
            <a:ext cx="11375536" cy="20128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0217" y="378529"/>
            <a:ext cx="1335074" cy="280809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13903" y="6199222"/>
            <a:ext cx="5785229" cy="197759"/>
          </a:xfrm>
        </p:spPr>
        <p:txBody>
          <a:bodyPr/>
          <a:lstStyle>
            <a:lvl1pPr marL="0" indent="0">
              <a:buNone/>
              <a:defRPr sz="153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779095"/>
      </p:ext>
    </p:extLst>
  </p:cSld>
  <p:clrMapOvr>
    <a:masterClrMapping/>
  </p:clrMapOvr>
  <p:transition spd="slow">
    <p:push dir="u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81" y="2776818"/>
            <a:ext cx="10450655" cy="1553826"/>
          </a:xfr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6117" spc="-306" baseline="0">
                <a:solidFill>
                  <a:schemeClr val="bg1">
                    <a:alpha val="99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1354" y="5790425"/>
            <a:ext cx="10450657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39" b="1" cap="all" baseline="0">
                <a:solidFill>
                  <a:schemeClr val="bg1">
                    <a:alpha val="99000"/>
                  </a:schemeClr>
                </a:solidFill>
              </a:defRPr>
            </a:lvl1pPr>
            <a:lvl2pPr marL="466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71359" y="6243272"/>
            <a:ext cx="5443995" cy="226010"/>
          </a:xfrm>
        </p:spPr>
        <p:txBody>
          <a:bodyPr/>
          <a:lstStyle>
            <a:lvl1pPr marL="0" indent="0">
              <a:buNone/>
              <a:defRPr sz="1632" baseline="0">
                <a:solidFill>
                  <a:schemeClr val="bg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presenter and dat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30217" y="378529"/>
            <a:ext cx="1335077" cy="28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694878"/>
      </p:ext>
    </p:extLst>
  </p:cSld>
  <p:clrMapOvr>
    <a:masterClrMapping/>
  </p:clrMapOvr>
  <p:transition spd="slow">
    <p:push dir="u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Blue 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7891614"/>
      </p:ext>
    </p:extLst>
  </p:cSld>
  <p:clrMapOvr>
    <a:masterClrMapping/>
  </p:clrMapOvr>
  <p:transition spd="slow">
    <p:push dir="u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blipFill dpi="0" rotWithShape="1">
          <a:blip r:embed="rId2">
            <a:lum/>
          </a:blip>
          <a:srcRect/>
          <a:stretch>
            <a:fillRect t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3" y="233155"/>
            <a:ext cx="11375536" cy="77220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29663" y="1476625"/>
            <a:ext cx="11375535" cy="2040374"/>
          </a:xfrm>
        </p:spPr>
        <p:txBody>
          <a:bodyPr>
            <a:spAutoFit/>
          </a:bodyPr>
          <a:lstStyle>
            <a:lvl1pPr marL="469294" indent="-469294">
              <a:buFont typeface="Arial" pitchFamily="34" charset="0"/>
              <a:buChar char="•"/>
              <a:defRPr/>
            </a:lvl1pPr>
            <a:lvl2pPr marL="872247" indent="-402951">
              <a:buFont typeface="Arial" pitchFamily="34" charset="0"/>
              <a:buChar char="•"/>
              <a:defRPr/>
            </a:lvl2pPr>
            <a:lvl3pPr marL="1283289" indent="-411042">
              <a:buFont typeface="Arial" pitchFamily="34" charset="0"/>
              <a:buChar char="•"/>
              <a:defRPr/>
            </a:lvl3pPr>
            <a:lvl4pPr marL="1636065" indent="-352781">
              <a:buFont typeface="Arial" pitchFamily="34" charset="0"/>
              <a:buChar char="•"/>
              <a:defRPr/>
            </a:lvl4pPr>
            <a:lvl5pPr marL="1979145" indent="-343073"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" y="6698083"/>
            <a:ext cx="1744938" cy="270242"/>
          </a:xfrm>
          <a:prstGeom prst="rect">
            <a:avLst/>
          </a:prstGeom>
        </p:spPr>
        <p:txBody>
          <a:bodyPr wrap="none" lIns="93215" tIns="46609" rIns="93215" bIns="46609">
            <a:spAutoFit/>
          </a:bodyPr>
          <a:lstStyle/>
          <a:p>
            <a:pPr defTabSz="932365"/>
            <a:r>
              <a:rPr lang="en-US" sz="1122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</p:spTree>
    <p:extLst>
      <p:ext uri="{BB962C8B-B14F-4D97-AF65-F5344CB8AC3E}">
        <p14:creationId xmlns:p14="http://schemas.microsoft.com/office/powerpoint/2010/main" val="4136358421"/>
      </p:ext>
    </p:extLst>
  </p:cSld>
  <p:clrMapOvr>
    <a:masterClrMapping/>
  </p:clrMapOvr>
  <p:transition spd="slow">
    <p:push dir="u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0561638" y="6267914"/>
            <a:ext cx="1382812" cy="296502"/>
          </a:xfrm>
          <a:prstGeom prst="rect">
            <a:avLst/>
          </a:prstGeom>
        </p:spPr>
      </p:pic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248450"/>
      </p:ext>
    </p:extLst>
  </p:cSld>
  <p:clrMapOvr>
    <a:masterClrMapping/>
  </p:clrMapOvr>
  <p:transition spd="slow">
    <p:push dir="u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7583" y="6240429"/>
            <a:ext cx="1280587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136370"/>
      </p:ext>
    </p:extLst>
  </p:cSld>
  <p:clrMapOvr>
    <a:masterClrMapping/>
  </p:clrMapOvr>
  <p:transition spd="slow">
    <p:push dir="u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125206"/>
      </p:ext>
    </p:extLst>
  </p:cSld>
  <p:clrMapOvr>
    <a:masterClrMapping/>
  </p:clrMapOvr>
  <p:transition spd="slow">
    <p:push dir="u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8940472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008998742"/>
      </p:ext>
    </p:extLst>
  </p:cSld>
  <p:clrMapOvr>
    <a:masterClrMapping/>
  </p:clrMapOvr>
  <p:transition spd="slow">
    <p:push dir="u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904156"/>
      </p:ext>
    </p:extLst>
  </p:cSld>
  <p:clrMapOvr>
    <a:masterClrMapping/>
  </p:clrMapOvr>
  <p:transition spd="slow">
    <p:push dir="u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96331"/>
      </p:ext>
    </p:extLst>
  </p:cSld>
  <p:clrMapOvr>
    <a:masterClrMapping/>
  </p:clrMapOvr>
  <p:transition spd="slow">
    <p:push dir="u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665785"/>
      </p:ext>
    </p:extLst>
  </p:cSld>
  <p:clrMapOvr>
    <a:masterClrMapping/>
  </p:clrMapOvr>
  <p:transition spd="slow">
    <p:push dir="u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20533"/>
      </p:ext>
    </p:extLst>
  </p:cSld>
  <p:clrMapOvr>
    <a:masterClrMapping/>
  </p:clrMapOvr>
  <p:transition spd="slow">
    <p:push dir="u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1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60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7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030877" y="3497262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53077" y="4290790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39138268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1.52668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399" y="2284961"/>
            <a:ext cx="7086439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60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6036" y="3768007"/>
            <a:ext cx="708755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ontent placeholder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273836" y="3497262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5536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28389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28389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824324361"/>
      </p:ext>
    </p:extLst>
  </p:cSld>
  <p:clrMapOvr>
    <a:masterClrMapping/>
  </p:clrMapOvr>
  <p:transition spd="slow">
    <p:push dir="u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71575352"/>
      </p:ext>
    </p:extLst>
  </p:cSld>
  <p:clrMapOvr>
    <a:masterClrMapping/>
  </p:clrMapOvr>
  <p:transition spd="slow">
    <p:push dir="u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14411030"/>
      </p:ext>
    </p:extLst>
  </p:cSld>
  <p:clrMapOvr>
    <a:masterClrMapping/>
  </p:clrMapOvr>
  <p:transition spd="slow">
    <p:push dir="u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27721320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31318405"/>
      </p:ext>
    </p:extLst>
  </p:cSld>
  <p:clrMapOvr>
    <a:masterClrMapping/>
  </p:clrMapOvr>
  <p:transition spd="slow">
    <p:push dir="u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91674308"/>
      </p:ext>
    </p:extLst>
  </p:cSld>
  <p:clrMapOvr>
    <a:masterClrMapping/>
  </p:clrMapOvr>
  <p:transition spd="slow">
    <p:push dir="u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_BUILD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37148"/>
      </p:ext>
    </p:extLst>
  </p:cSld>
  <p:clrMapOvr>
    <a:masterClrMapping/>
  </p:clrMapOvr>
  <p:transition spd="slow">
    <p:push dir="u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_BUIL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871071"/>
      </p:ext>
    </p:extLst>
  </p:cSld>
  <p:clrMapOvr>
    <a:masterClrMapping/>
  </p:clrMapOvr>
  <p:transition spd="slow">
    <p:push dir="u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_BUILD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955164"/>
      </p:ext>
    </p:extLst>
  </p:cSld>
  <p:clrMapOvr>
    <a:masterClrMapping/>
  </p:clrMapOvr>
  <p:transition spd="slow">
    <p:push dir="u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_BUILD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042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3699094"/>
      </p:ext>
    </p:extLst>
  </p:cSld>
  <p:clrMapOvr>
    <a:masterClrMapping/>
  </p:clrMapOvr>
  <p:transition spd="slow">
    <p:push dir="u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2117566"/>
      </p:ext>
    </p:extLst>
  </p:cSld>
  <p:clrMapOvr>
    <a:masterClrMapping/>
  </p:clrMapOvr>
  <p:transition spd="slow">
    <p:push dir="u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1774809"/>
      </p:ext>
    </p:extLst>
  </p:cSld>
  <p:clrMapOvr>
    <a:masterClrMapping/>
  </p:clrMapOvr>
  <p:transition spd="slow">
    <p:push dir="u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5072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452237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8246692"/>
      </p:ext>
    </p:extLst>
  </p:cSld>
  <p:clrMapOvr>
    <a:masterClrMapping/>
  </p:clrMapOvr>
  <p:transition spd="slow">
    <p:push dir="u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>
              <a:defRPr/>
            </a:pPr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9232" y="3145040"/>
            <a:ext cx="3291840" cy="70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45328"/>
      </p:ext>
    </p:extLst>
  </p:cSld>
  <p:clrMapOvr>
    <a:masterClrMapping/>
  </p:clrMapOvr>
  <p:transition spd="slow">
    <p:push dir="u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0800"/>
      </p:ext>
    </p:extLst>
  </p:cSld>
  <p:clrMapOvr>
    <a:masterClrMapping/>
  </p:clrMapOvr>
  <p:transition spd="slow">
    <p:push dir="u"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978511954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630580111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7025763"/>
      </p:ext>
    </p:extLst>
  </p:cSld>
  <p:clrMapOvr>
    <a:masterClrMapping/>
  </p:clrMapOvr>
  <p:transition spd="slow">
    <p:push dir="u"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7007669"/>
      </p:ext>
    </p:extLst>
  </p:cSld>
  <p:clrMapOvr>
    <a:masterClrMapping/>
  </p:clrMapOvr>
  <p:transition spd="slow">
    <p:push dir="u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117410"/>
      </p:ext>
    </p:extLst>
  </p:cSld>
  <p:clrMapOvr>
    <a:masterClrMapping/>
  </p:clrMapOvr>
  <p:transition spd="slow">
    <p:push dir="u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1680058"/>
      </p:ext>
    </p:extLst>
  </p:cSld>
  <p:clrMapOvr>
    <a:masterClrMapping/>
  </p:clrMapOvr>
  <p:transition spd="slow">
    <p:push dir="u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4314207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4118616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74117874"/>
      </p:ext>
    </p:extLst>
  </p:cSld>
  <p:clrMapOvr>
    <a:masterClrMapping/>
  </p:clrMapOvr>
  <p:transition spd="slow">
    <p:push dir="u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76816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2191368"/>
      </p:ext>
    </p:extLst>
  </p:cSld>
  <p:clrMapOvr>
    <a:masterClrMapping/>
  </p:clrMapOvr>
  <p:transition spd="slow">
    <p:push dir="u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1482645"/>
      </p:ext>
    </p:extLst>
  </p:cSld>
  <p:clrMapOvr>
    <a:masterClrMapping/>
  </p:clrMapOvr>
  <p:transition spd="slow">
    <p:push dir="u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9510058"/>
      </p:ext>
    </p:extLst>
  </p:cSld>
  <p:clrMapOvr>
    <a:masterClrMapping/>
  </p:clrMapOvr>
  <p:transition spd="slow">
    <p:push dir="u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56023"/>
      </p:ext>
    </p:extLst>
  </p:cSld>
  <p:clrMapOvr>
    <a:masterClrMapping/>
  </p:clrMapOvr>
  <p:transition spd="slow">
    <p:push dir="u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4130337"/>
      </p:ext>
    </p:extLst>
  </p:cSld>
  <p:clrMapOvr>
    <a:masterClrMapping/>
  </p:clrMapOvr>
  <p:transition spd="slow">
    <p:push dir="u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910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144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_Light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9536147" y="-20635"/>
            <a:ext cx="2900328" cy="7015161"/>
            <a:chOff x="9534930" y="-20636"/>
            <a:chExt cx="2899958" cy="7015161"/>
          </a:xfrm>
        </p:grpSpPr>
        <p:sp>
          <p:nvSpPr>
            <p:cNvPr id="13" name="Right Triangle 12"/>
            <p:cNvSpPr/>
            <p:nvPr/>
          </p:nvSpPr>
          <p:spPr bwMode="auto">
            <a:xfrm flipH="1">
              <a:off x="9534930" y="-20636"/>
              <a:ext cx="2899958" cy="7015161"/>
            </a:xfrm>
            <a:prstGeom prst="rtTriangle">
              <a:avLst/>
            </a:prstGeom>
            <a:solidFill>
              <a:schemeClr val="bg2">
                <a:lumMod val="90000"/>
                <a:alpha val="38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8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Right Triangle 13"/>
            <p:cNvSpPr/>
            <p:nvPr/>
          </p:nvSpPr>
          <p:spPr bwMode="auto">
            <a:xfrm flipH="1">
              <a:off x="10362810" y="2008586"/>
              <a:ext cx="2072078" cy="4985939"/>
            </a:xfrm>
            <a:prstGeom prst="rtTriangle">
              <a:avLst/>
            </a:prstGeom>
            <a:solidFill>
              <a:schemeClr val="accent5">
                <a:lumMod val="20000"/>
                <a:lumOff val="80000"/>
                <a:alpha val="92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8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4013" y="5875020"/>
            <a:ext cx="853549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870669"/>
      </p:ext>
    </p:extLst>
  </p:cSld>
  <p:clrMapOvr>
    <a:masterClrMapping/>
  </p:clrMapOvr>
  <p:transition spd="slow">
    <p:push dir="u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561638" y="6267914"/>
            <a:ext cx="1382813" cy="296502"/>
          </a:xfrm>
          <a:prstGeom prst="rect">
            <a:avLst/>
          </a:prstGeom>
        </p:spPr>
      </p:pic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2137569" y="2473326"/>
            <a:ext cx="8161337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6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1371664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26049419"/>
      </p:ext>
    </p:extLst>
  </p:cSld>
  <p:clrMapOvr>
    <a:masterClrMapping/>
  </p:clrMapOvr>
  <p:transition spd="slow">
    <p:push dir="u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1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8"/>
            <a:ext cx="7315138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583" y="6240428"/>
            <a:ext cx="1280587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90100"/>
      </p:ext>
    </p:extLst>
  </p:cSld>
  <p:clrMapOvr>
    <a:masterClrMapping/>
  </p:clrMapOvr>
  <p:transition spd="slow">
    <p:push dir="u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181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86" indent="0">
              <a:buNone/>
              <a:defRPr/>
            </a:lvl3pPr>
            <a:lvl4pPr marL="457170" indent="0">
              <a:buNone/>
              <a:defRPr/>
            </a:lvl4pPr>
            <a:lvl5pPr marL="685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078969"/>
      </p:ext>
    </p:extLst>
  </p:cSld>
  <p:clrMapOvr>
    <a:masterClrMapping/>
  </p:clrMapOvr>
  <p:transition spd="slow">
    <p:push dir="u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1"/>
            <a:ext cx="11887200" cy="2159483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2763874"/>
      </p:ext>
    </p:extLst>
  </p:cSld>
  <p:clrMapOvr>
    <a:masterClrMapping/>
  </p:clrMapOvr>
  <p:transition spd="slow">
    <p:push dir="u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108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60" indent="0">
              <a:buNone/>
              <a:tabLst/>
              <a:defRPr sz="2000"/>
            </a:lvl3pPr>
            <a:lvl4pPr marL="460345" indent="0">
              <a:buNone/>
              <a:defRPr/>
            </a:lvl4pPr>
            <a:lvl5pPr marL="68575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41" y="1212850"/>
            <a:ext cx="5486399" cy="198108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60" indent="0">
              <a:buNone/>
              <a:tabLst/>
              <a:defRPr sz="2000"/>
            </a:lvl3pPr>
            <a:lvl4pPr marL="460345" indent="0">
              <a:buNone/>
              <a:defRPr/>
            </a:lvl4pPr>
            <a:lvl5pPr marL="68575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114484"/>
      </p:ext>
    </p:extLst>
  </p:cSld>
  <p:clrMapOvr>
    <a:masterClrMapping/>
  </p:clrMapOvr>
  <p:transition spd="slow">
    <p:push dir="u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491872"/>
          </a:xfrm>
        </p:spPr>
        <p:txBody>
          <a:bodyPr wrap="square">
            <a:spAutoFit/>
          </a:bodyPr>
          <a:lstStyle>
            <a:lvl1pPr marL="287320" indent="-287320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31" indent="-233179">
              <a:defRPr sz="2400"/>
            </a:lvl2pPr>
            <a:lvl3pPr marL="699539" indent="-168407">
              <a:tabLst/>
              <a:defRPr sz="2000"/>
            </a:lvl3pPr>
            <a:lvl4pPr marL="880900" indent="-181362">
              <a:defRPr/>
            </a:lvl4pPr>
            <a:lvl5pPr marL="1049308" indent="-16840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41" y="1212850"/>
            <a:ext cx="5486399" cy="2491872"/>
          </a:xfrm>
        </p:spPr>
        <p:txBody>
          <a:bodyPr wrap="square">
            <a:spAutoFit/>
          </a:bodyPr>
          <a:lstStyle>
            <a:lvl1pPr marL="287320" indent="-287320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31" indent="-233179">
              <a:defRPr sz="2400"/>
            </a:lvl2pPr>
            <a:lvl3pPr marL="699539" indent="-168407">
              <a:tabLst/>
              <a:defRPr sz="2000"/>
            </a:lvl3pPr>
            <a:lvl4pPr marL="880900" indent="-181362">
              <a:defRPr/>
            </a:lvl4pPr>
            <a:lvl5pPr marL="1049308" indent="-16840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701413"/>
      </p:ext>
    </p:extLst>
  </p:cSld>
  <p:clrMapOvr>
    <a:masterClrMapping/>
  </p:clrMapOvr>
  <p:transition spd="slow">
    <p:push dir="u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633103"/>
      </p:ext>
    </p:extLst>
  </p:cSld>
  <p:clrMapOvr>
    <a:masterClrMapping/>
  </p:clrMapOvr>
  <p:transition spd="slow">
    <p:push dir="u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918707"/>
      </p:ext>
    </p:extLst>
  </p:cSld>
  <p:clrMapOvr>
    <a:masterClrMapping/>
  </p:clrMapOvr>
  <p:transition spd="slow">
    <p:push dir="u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1" y="2284962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6000" spc="-10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9" y="3768007"/>
            <a:ext cx="10058400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030878" y="3497263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53079" y="4290791"/>
            <a:ext cx="10058400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19749731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1.52668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400" y="2284962"/>
            <a:ext cx="7086439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6000" spc="-10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6037" y="3768007"/>
            <a:ext cx="708755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ontent placeholder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273837" y="3497263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55374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28389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28389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922024268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_BUILD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395691"/>
      </p:ext>
    </p:extLst>
  </p:cSld>
  <p:clrMapOvr>
    <a:masterClrMapping/>
  </p:clrMapOvr>
  <p:transition spd="slow">
    <p:push dir="u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85291885"/>
      </p:ext>
    </p:extLst>
  </p:cSld>
  <p:clrMapOvr>
    <a:masterClrMapping/>
  </p:clrMapOvr>
  <p:transition spd="slow">
    <p:push dir="u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19200311"/>
      </p:ext>
    </p:extLst>
  </p:cSld>
  <p:clrMapOvr>
    <a:masterClrMapping/>
  </p:clrMapOvr>
  <p:transition spd="slow">
    <p:push dir="u"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91600244"/>
      </p:ext>
    </p:extLst>
  </p:cSld>
  <p:clrMapOvr>
    <a:masterClrMapping/>
  </p:clrMapOvr>
  <p:transition spd="slow">
    <p:push dir="u"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1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6000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76551268"/>
      </p:ext>
    </p:extLst>
  </p:cSld>
  <p:clrMapOvr>
    <a:masterClrMapping/>
  </p:clrMapOvr>
  <p:transition spd="slow">
    <p:push dir="u"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_BUILD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EditPoints="1"/>
          </p:cNvSpPr>
          <p:nvPr userDrawn="1"/>
        </p:nvSpPr>
        <p:spPr bwMode="black">
          <a:xfrm>
            <a:off x="10744289" y="6344303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6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5675214"/>
      </p:ext>
    </p:extLst>
  </p:cSld>
  <p:clrMapOvr>
    <a:masterClrMapping/>
  </p:clrMapOvr>
  <p:transition spd="slow">
    <p:push dir="u"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_BUIL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9" y="6344303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6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129626"/>
      </p:ext>
    </p:extLst>
  </p:cSld>
  <p:clrMapOvr>
    <a:masterClrMapping/>
  </p:clrMapOvr>
  <p:transition spd="slow">
    <p:push dir="u"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_BUILD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9" y="6344303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6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221082"/>
      </p:ext>
    </p:extLst>
  </p:cSld>
  <p:clrMapOvr>
    <a:masterClrMapping/>
  </p:clrMapOvr>
  <p:transition spd="slow">
    <p:push dir="u"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_BUILD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10744289" y="6344303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6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4059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097411"/>
      </p:ext>
    </p:extLst>
  </p:cSld>
  <p:clrMapOvr>
    <a:masterClrMapping/>
  </p:clrMapOvr>
  <p:transition spd="slow">
    <p:push dir="u"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326421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_BUIL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124081"/>
      </p:ext>
    </p:extLst>
  </p:cSld>
  <p:clrMapOvr>
    <a:masterClrMapping/>
  </p:clrMapOvr>
  <p:transition spd="slow">
    <p:push dir="u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8975092"/>
      </p:ext>
    </p:extLst>
  </p:cSld>
  <p:clrMapOvr>
    <a:masterClrMapping/>
  </p:clrMapOvr>
  <p:transition spd="slow">
    <p:push dir="u"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395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7518038"/>
      </p:ext>
    </p:extLst>
  </p:cSld>
  <p:clrMapOvr>
    <a:masterClrMapping/>
  </p:clrMapOvr>
  <p:transition spd="slow">
    <p:push dir="u"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94476"/>
            <a:ext cx="11887199" cy="40314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22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9232" y="3145039"/>
            <a:ext cx="3291840" cy="70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822069"/>
      </p:ext>
    </p:extLst>
  </p:cSld>
  <p:clrMapOvr>
    <a:masterClrMapping/>
  </p:clrMapOvr>
  <p:transition spd="slow">
    <p:push dir="u"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1"/>
            <a:ext cx="11887200" cy="2510095"/>
          </a:xfrm>
          <a:prstGeom prst="rect">
            <a:avLst/>
          </a:prstGeom>
        </p:spPr>
        <p:txBody>
          <a:bodyPr/>
          <a:lstStyle>
            <a:lvl1pPr marL="290494" indent="-290494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463" indent="-280969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956" indent="-290494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542" indent="-228586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126" indent="-228586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1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4643777"/>
      </p:ext>
    </p:extLst>
  </p:cSld>
  <p:clrMapOvr>
    <a:masterClrMapping/>
  </p:clrMapOvr>
  <p:transition spd="slow">
    <p:push dir="u"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-in">
    <p:bg bwMode="gray"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713" y="2357337"/>
            <a:ext cx="9891048" cy="227985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481" y="18"/>
            <a:ext cx="1437957" cy="699450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3034" y="8562"/>
            <a:ext cx="1437959" cy="698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695645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_Title_1">
    <p:bg bwMode="gray"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211263"/>
            <a:ext cx="9143936" cy="2743201"/>
          </a:xfrm>
          <a:noFill/>
          <a:ln>
            <a:noFill/>
          </a:ln>
        </p:spPr>
        <p:txBody>
          <a:bodyPr lIns="146304" tIns="91440" rIns="146304" bIns="91440" anchor="t" anchorCtr="0"/>
          <a:lstStyle>
            <a:lvl1pPr>
              <a:defRPr sz="54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955786"/>
            <a:ext cx="5486337" cy="1828007"/>
          </a:xfrm>
          <a:noFill/>
          <a:ln>
            <a:noFill/>
          </a:ln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2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  <a:ln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228600" indent="0">
              <a:buNone/>
              <a:defRPr>
                <a:solidFill>
                  <a:schemeClr val="bg1"/>
                </a:solidFill>
              </a:defRPr>
            </a:lvl3pPr>
            <a:lvl4pPr marL="457200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143927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  <a:ln>
            <a:noFill/>
          </a:ln>
        </p:spPr>
        <p:txBody>
          <a:bodyPr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52022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  <a:ln>
            <a:noFill/>
          </a:ln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buNone/>
              <a:defRPr sz="2000">
                <a:solidFill>
                  <a:schemeClr val="bg1"/>
                </a:solidFill>
              </a:defRPr>
            </a:lvl2pPr>
            <a:lvl3pPr marL="231775" indent="0">
              <a:buNone/>
              <a:tabLst/>
              <a:defRPr sz="2000">
                <a:solidFill>
                  <a:schemeClr val="bg1"/>
                </a:solidFill>
              </a:defRPr>
            </a:lvl3pPr>
            <a:lvl4pPr marL="460375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  <a:ln>
            <a:noFill/>
          </a:ln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buNone/>
              <a:defRPr sz="2000">
                <a:solidFill>
                  <a:schemeClr val="bg1"/>
                </a:solidFill>
              </a:defRPr>
            </a:lvl2pPr>
            <a:lvl3pPr marL="231775" indent="0">
              <a:buNone/>
              <a:tabLst/>
              <a:defRPr sz="2000">
                <a:solidFill>
                  <a:schemeClr val="bg1"/>
                </a:solidFill>
              </a:defRPr>
            </a:lvl3pPr>
            <a:lvl4pPr marL="460375" indent="0">
              <a:buNone/>
              <a:defRPr>
                <a:solidFill>
                  <a:schemeClr val="bg1"/>
                </a:solidFill>
              </a:defRPr>
            </a:lvl4pPr>
            <a:lvl5pPr marL="685800" indent="0">
              <a:buNone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38610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_BUILD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282242"/>
      </p:ext>
    </p:extLst>
  </p:cSld>
  <p:clrMapOvr>
    <a:masterClrMapping/>
  </p:clrMapOvr>
  <p:transition spd="slow">
    <p:push dir="u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49"/>
            <a:ext cx="5486399" cy="2425279"/>
          </a:xfrm>
          <a:ln>
            <a:noFill/>
          </a:ln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>
                <a:solidFill>
                  <a:schemeClr val="bg1"/>
                </a:solidFill>
              </a:defRPr>
            </a:lvl1pPr>
            <a:lvl2pPr marL="531166" indent="-233195">
              <a:defRPr sz="2400">
                <a:solidFill>
                  <a:schemeClr val="bg1"/>
                </a:solidFill>
              </a:defRPr>
            </a:lvl2pPr>
            <a:lvl3pPr marL="699585" indent="-168419">
              <a:tabLst/>
              <a:defRPr sz="2000">
                <a:solidFill>
                  <a:schemeClr val="bg1"/>
                </a:solidFill>
              </a:defRPr>
            </a:lvl3pPr>
            <a:lvl4pPr marL="880958" indent="-181374">
              <a:defRPr>
                <a:solidFill>
                  <a:schemeClr val="bg1"/>
                </a:solidFill>
              </a:defRPr>
            </a:lvl4pPr>
            <a:lvl5pPr marL="1049377" indent="-168419"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8" y="1212849"/>
            <a:ext cx="5486399" cy="2425279"/>
          </a:xfrm>
          <a:ln>
            <a:noFill/>
          </a:ln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>
                <a:solidFill>
                  <a:schemeClr val="bg1"/>
                </a:solidFill>
              </a:defRPr>
            </a:lvl1pPr>
            <a:lvl2pPr marL="531166" indent="-233195">
              <a:defRPr sz="2400">
                <a:solidFill>
                  <a:schemeClr val="bg1"/>
                </a:solidFill>
              </a:defRPr>
            </a:lvl2pPr>
            <a:lvl3pPr marL="699585" indent="-168419">
              <a:tabLst/>
              <a:defRPr sz="2000">
                <a:solidFill>
                  <a:schemeClr val="bg1"/>
                </a:solidFill>
              </a:defRPr>
            </a:lvl3pPr>
            <a:lvl4pPr marL="880958" indent="-181374">
              <a:defRPr>
                <a:solidFill>
                  <a:schemeClr val="bg1"/>
                </a:solidFill>
              </a:defRPr>
            </a:lvl4pPr>
            <a:lvl5pPr marL="1049377" indent="-168419"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33914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35211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44490"/>
          </a:xfrm>
          <a:noFill/>
        </p:spPr>
        <p:txBody>
          <a:bodyPr tIns="91440" bIns="91440" anchor="t" anchorCtr="0">
            <a:noAutofit/>
          </a:bodyPr>
          <a:lstStyle>
            <a:lvl1pPr>
              <a:defRPr sz="7200" spc="-100" baseline="0">
                <a:gradFill>
                  <a:gsLst>
                    <a:gs pos="14634">
                      <a:schemeClr val="tx1"/>
                    </a:gs>
                    <a:gs pos="4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1828800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12195">
                      <a:schemeClr val="tx1"/>
                    </a:gs>
                    <a:gs pos="46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82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aphicFrame>
        <p:nvGraphicFramePr>
          <p:cNvPr id="5" name="Chart 4"/>
          <p:cNvGraphicFramePr/>
          <p:nvPr userDrawn="1">
            <p:extLst/>
          </p:nvPr>
        </p:nvGraphicFramePr>
        <p:xfrm>
          <a:off x="2042055" y="1190802"/>
          <a:ext cx="8290983" cy="4592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567498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aphicFrame>
        <p:nvGraphicFramePr>
          <p:cNvPr id="6" name="Chart 5"/>
          <p:cNvGraphicFramePr/>
          <p:nvPr userDrawn="1">
            <p:extLst/>
          </p:nvPr>
        </p:nvGraphicFramePr>
        <p:xfrm>
          <a:off x="2785006" y="952854"/>
          <a:ext cx="7245614" cy="4830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797492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73737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3658890"/>
          </a:xfrm>
          <a:noFill/>
        </p:spPr>
        <p:txBody>
          <a:bodyPr tIns="91440" bIns="91440" anchor="t" anchorCtr="0">
            <a:no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77426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1594420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rgbClr val="0018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50426176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Accent Color 3">
    <p:bg>
      <p:bgPr>
        <a:solidFill>
          <a:srgbClr val="BBD8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90551">
                      <a:schemeClr val="tx1"/>
                    </a:gs>
                    <a:gs pos="6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26885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29991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_BUILD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10744288" y="6344302"/>
            <a:ext cx="1408241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410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0-50 Right Photo Layout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0"/>
            <a:ext cx="12436475" cy="585733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5857336"/>
          </a:xfrm>
          <a:blipFill>
            <a:blip r:embed="rId2"/>
            <a:srcRect/>
            <a:stretch>
              <a:fillRect t="-3" b="-20149"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75" y="6157690"/>
            <a:ext cx="1069075" cy="44901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820" y="6268826"/>
            <a:ext cx="1045381" cy="22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144784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2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59232" y="3145040"/>
            <a:ext cx="3291840" cy="70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029812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445524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01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auto">
          <a:xfrm>
            <a:off x="274638" y="2119164"/>
            <a:ext cx="6400800" cy="3664099"/>
          </a:xfrm>
          <a:prstGeom prst="rect">
            <a:avLst/>
          </a:prstGeom>
          <a:solidFill>
            <a:srgbClr val="FFFFFF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74702" y="2119178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solidFill>
                  <a:srgbClr val="171717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6402388" cy="182880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solidFill>
                  <a:srgbClr val="171717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61638" y="6269236"/>
            <a:ext cx="1382813" cy="2951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708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114505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946182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1929351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0237622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735432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2764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583" y="6240429"/>
            <a:ext cx="1280587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526507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7523614"/>
      </p:ext>
    </p:extLst>
  </p:cSld>
  <p:clrMapOvr>
    <a:masterClrMapping/>
  </p:clrMapOvr>
  <p:transition spd="slow">
    <p:push dir="u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775459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236876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105315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ll Out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3026800"/>
            <a:ext cx="11870358" cy="940926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algn="l">
              <a:defRPr sz="54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453056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2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59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8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030877" y="3497263"/>
            <a:ext cx="7312820" cy="0"/>
          </a:xfrm>
          <a:prstGeom prst="line">
            <a:avLst/>
          </a:prstGeom>
          <a:ln w="12700">
            <a:solidFill>
              <a:schemeClr val="bg2">
                <a:lumMod val="40000"/>
                <a:lumOff val="6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53078" y="4290791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118805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15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2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59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8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030877" y="3497263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53078" y="4290791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355244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15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Lead-in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/>
        </p:nvGrpSpPr>
        <p:grpSpPr>
          <a:xfrm>
            <a:off x="9595019" y="5978399"/>
            <a:ext cx="2390440" cy="524130"/>
            <a:chOff x="3484562" y="4392613"/>
            <a:chExt cx="6862764" cy="1504950"/>
          </a:xfrm>
          <a:solidFill>
            <a:schemeClr val="bg1"/>
          </a:solidFill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4151313" y="4392613"/>
              <a:ext cx="838200" cy="739775"/>
            </a:xfrm>
            <a:custGeom>
              <a:avLst/>
              <a:gdLst>
                <a:gd name="T0" fmla="*/ 0 w 528"/>
                <a:gd name="T1" fmla="*/ 466 h 466"/>
                <a:gd name="T2" fmla="*/ 528 w 528"/>
                <a:gd name="T3" fmla="*/ 466 h 466"/>
                <a:gd name="T4" fmla="*/ 528 w 528"/>
                <a:gd name="T5" fmla="*/ 0 h 466"/>
                <a:gd name="T6" fmla="*/ 0 w 528"/>
                <a:gd name="T7" fmla="*/ 74 h 466"/>
                <a:gd name="T8" fmla="*/ 0 w 528"/>
                <a:gd name="T9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528" y="466"/>
                  </a:lnTo>
                  <a:lnTo>
                    <a:pt x="528" y="0"/>
                  </a:lnTo>
                  <a:lnTo>
                    <a:pt x="0" y="74"/>
                  </a:lnTo>
                  <a:lnTo>
                    <a:pt x="0" y="4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484562" y="4513263"/>
              <a:ext cx="642938" cy="619125"/>
            </a:xfrm>
            <a:custGeom>
              <a:avLst/>
              <a:gdLst>
                <a:gd name="T0" fmla="*/ 405 w 405"/>
                <a:gd name="T1" fmla="*/ 390 h 390"/>
                <a:gd name="T2" fmla="*/ 405 w 405"/>
                <a:gd name="T3" fmla="*/ 0 h 390"/>
                <a:gd name="T4" fmla="*/ 0 w 405"/>
                <a:gd name="T5" fmla="*/ 56 h 390"/>
                <a:gd name="T6" fmla="*/ 0 w 405"/>
                <a:gd name="T7" fmla="*/ 390 h 390"/>
                <a:gd name="T8" fmla="*/ 405 w 405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390">
                  <a:moveTo>
                    <a:pt x="405" y="390"/>
                  </a:moveTo>
                  <a:lnTo>
                    <a:pt x="405" y="0"/>
                  </a:lnTo>
                  <a:lnTo>
                    <a:pt x="0" y="56"/>
                  </a:lnTo>
                  <a:lnTo>
                    <a:pt x="0" y="390"/>
                  </a:lnTo>
                  <a:lnTo>
                    <a:pt x="405" y="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3484562" y="5157788"/>
              <a:ext cx="642938" cy="617538"/>
            </a:xfrm>
            <a:custGeom>
              <a:avLst/>
              <a:gdLst>
                <a:gd name="T0" fmla="*/ 405 w 405"/>
                <a:gd name="T1" fmla="*/ 0 h 389"/>
                <a:gd name="T2" fmla="*/ 0 w 405"/>
                <a:gd name="T3" fmla="*/ 0 h 389"/>
                <a:gd name="T4" fmla="*/ 0 w 405"/>
                <a:gd name="T5" fmla="*/ 333 h 389"/>
                <a:gd name="T6" fmla="*/ 405 w 405"/>
                <a:gd name="T7" fmla="*/ 389 h 389"/>
                <a:gd name="T8" fmla="*/ 405 w 405"/>
                <a:gd name="T9" fmla="*/ 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389">
                  <a:moveTo>
                    <a:pt x="405" y="0"/>
                  </a:moveTo>
                  <a:lnTo>
                    <a:pt x="0" y="0"/>
                  </a:lnTo>
                  <a:lnTo>
                    <a:pt x="0" y="333"/>
                  </a:lnTo>
                  <a:lnTo>
                    <a:pt x="405" y="389"/>
                  </a:lnTo>
                  <a:lnTo>
                    <a:pt x="4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4151313" y="5157788"/>
              <a:ext cx="838200" cy="739775"/>
            </a:xfrm>
            <a:custGeom>
              <a:avLst/>
              <a:gdLst>
                <a:gd name="T0" fmla="*/ 0 w 528"/>
                <a:gd name="T1" fmla="*/ 0 h 466"/>
                <a:gd name="T2" fmla="*/ 0 w 528"/>
                <a:gd name="T3" fmla="*/ 392 h 466"/>
                <a:gd name="T4" fmla="*/ 528 w 528"/>
                <a:gd name="T5" fmla="*/ 466 h 466"/>
                <a:gd name="T6" fmla="*/ 528 w 528"/>
                <a:gd name="T7" fmla="*/ 0 h 466"/>
                <a:gd name="T8" fmla="*/ 0 w 528"/>
                <a:gd name="T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8" h="466">
                  <a:moveTo>
                    <a:pt x="0" y="0"/>
                  </a:moveTo>
                  <a:lnTo>
                    <a:pt x="0" y="392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6681788" y="4673600"/>
              <a:ext cx="136525" cy="133350"/>
            </a:xfrm>
            <a:custGeom>
              <a:avLst/>
              <a:gdLst>
                <a:gd name="T0" fmla="*/ 78 w 78"/>
                <a:gd name="T1" fmla="*/ 38 h 77"/>
                <a:gd name="T2" fmla="*/ 66 w 78"/>
                <a:gd name="T3" fmla="*/ 66 h 77"/>
                <a:gd name="T4" fmla="*/ 39 w 78"/>
                <a:gd name="T5" fmla="*/ 77 h 77"/>
                <a:gd name="T6" fmla="*/ 11 w 78"/>
                <a:gd name="T7" fmla="*/ 66 h 77"/>
                <a:gd name="T8" fmla="*/ 0 w 78"/>
                <a:gd name="T9" fmla="*/ 38 h 77"/>
                <a:gd name="T10" fmla="*/ 11 w 78"/>
                <a:gd name="T11" fmla="*/ 11 h 77"/>
                <a:gd name="T12" fmla="*/ 39 w 78"/>
                <a:gd name="T13" fmla="*/ 0 h 77"/>
                <a:gd name="T14" fmla="*/ 67 w 78"/>
                <a:gd name="T15" fmla="*/ 11 h 77"/>
                <a:gd name="T16" fmla="*/ 78 w 78"/>
                <a:gd name="T17" fmla="*/ 3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77">
                  <a:moveTo>
                    <a:pt x="78" y="38"/>
                  </a:moveTo>
                  <a:cubicBezTo>
                    <a:pt x="78" y="49"/>
                    <a:pt x="74" y="59"/>
                    <a:pt x="66" y="66"/>
                  </a:cubicBezTo>
                  <a:cubicBezTo>
                    <a:pt x="58" y="73"/>
                    <a:pt x="49" y="77"/>
                    <a:pt x="39" y="77"/>
                  </a:cubicBezTo>
                  <a:cubicBezTo>
                    <a:pt x="28" y="77"/>
                    <a:pt x="19" y="73"/>
                    <a:pt x="11" y="66"/>
                  </a:cubicBezTo>
                  <a:cubicBezTo>
                    <a:pt x="4" y="59"/>
                    <a:pt x="0" y="50"/>
                    <a:pt x="0" y="38"/>
                  </a:cubicBezTo>
                  <a:cubicBezTo>
                    <a:pt x="0" y="28"/>
                    <a:pt x="4" y="19"/>
                    <a:pt x="11" y="11"/>
                  </a:cubicBezTo>
                  <a:cubicBezTo>
                    <a:pt x="18" y="4"/>
                    <a:pt x="28" y="0"/>
                    <a:pt x="39" y="0"/>
                  </a:cubicBezTo>
                  <a:cubicBezTo>
                    <a:pt x="50" y="0"/>
                    <a:pt x="59" y="4"/>
                    <a:pt x="67" y="11"/>
                  </a:cubicBezTo>
                  <a:cubicBezTo>
                    <a:pt x="74" y="19"/>
                    <a:pt x="78" y="28"/>
                    <a:pt x="78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5440363" y="4692650"/>
              <a:ext cx="1173163" cy="903288"/>
            </a:xfrm>
            <a:custGeom>
              <a:avLst/>
              <a:gdLst>
                <a:gd name="T0" fmla="*/ 739 w 739"/>
                <a:gd name="T1" fmla="*/ 0 h 569"/>
                <a:gd name="T2" fmla="*/ 578 w 739"/>
                <a:gd name="T3" fmla="*/ 569 h 569"/>
                <a:gd name="T4" fmla="*/ 500 w 739"/>
                <a:gd name="T5" fmla="*/ 569 h 569"/>
                <a:gd name="T6" fmla="*/ 373 w 739"/>
                <a:gd name="T7" fmla="*/ 118 h 569"/>
                <a:gd name="T8" fmla="*/ 372 w 739"/>
                <a:gd name="T9" fmla="*/ 118 h 569"/>
                <a:gd name="T10" fmla="*/ 244 w 739"/>
                <a:gd name="T11" fmla="*/ 569 h 569"/>
                <a:gd name="T12" fmla="*/ 167 w 739"/>
                <a:gd name="T13" fmla="*/ 569 h 569"/>
                <a:gd name="T14" fmla="*/ 0 w 739"/>
                <a:gd name="T15" fmla="*/ 0 h 569"/>
                <a:gd name="T16" fmla="*/ 73 w 739"/>
                <a:gd name="T17" fmla="*/ 0 h 569"/>
                <a:gd name="T18" fmla="*/ 205 w 739"/>
                <a:gd name="T19" fmla="*/ 475 h 569"/>
                <a:gd name="T20" fmla="*/ 207 w 739"/>
                <a:gd name="T21" fmla="*/ 475 h 569"/>
                <a:gd name="T22" fmla="*/ 344 w 739"/>
                <a:gd name="T23" fmla="*/ 0 h 569"/>
                <a:gd name="T24" fmla="*/ 408 w 739"/>
                <a:gd name="T25" fmla="*/ 0 h 569"/>
                <a:gd name="T26" fmla="*/ 538 w 739"/>
                <a:gd name="T27" fmla="*/ 477 h 569"/>
                <a:gd name="T28" fmla="*/ 541 w 739"/>
                <a:gd name="T29" fmla="*/ 477 h 569"/>
                <a:gd name="T30" fmla="*/ 667 w 739"/>
                <a:gd name="T31" fmla="*/ 0 h 569"/>
                <a:gd name="T32" fmla="*/ 739 w 739"/>
                <a:gd name="T33" fmla="*/ 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9" h="569">
                  <a:moveTo>
                    <a:pt x="739" y="0"/>
                  </a:moveTo>
                  <a:lnTo>
                    <a:pt x="578" y="569"/>
                  </a:lnTo>
                  <a:lnTo>
                    <a:pt x="500" y="569"/>
                  </a:lnTo>
                  <a:lnTo>
                    <a:pt x="373" y="118"/>
                  </a:lnTo>
                  <a:lnTo>
                    <a:pt x="372" y="118"/>
                  </a:lnTo>
                  <a:lnTo>
                    <a:pt x="244" y="569"/>
                  </a:lnTo>
                  <a:lnTo>
                    <a:pt x="167" y="569"/>
                  </a:lnTo>
                  <a:lnTo>
                    <a:pt x="0" y="0"/>
                  </a:lnTo>
                  <a:lnTo>
                    <a:pt x="73" y="0"/>
                  </a:lnTo>
                  <a:lnTo>
                    <a:pt x="205" y="475"/>
                  </a:lnTo>
                  <a:lnTo>
                    <a:pt x="207" y="475"/>
                  </a:lnTo>
                  <a:lnTo>
                    <a:pt x="344" y="0"/>
                  </a:lnTo>
                  <a:lnTo>
                    <a:pt x="408" y="0"/>
                  </a:lnTo>
                  <a:lnTo>
                    <a:pt x="538" y="477"/>
                  </a:lnTo>
                  <a:lnTo>
                    <a:pt x="541" y="477"/>
                  </a:lnTo>
                  <a:lnTo>
                    <a:pt x="667" y="0"/>
                  </a:lnTo>
                  <a:lnTo>
                    <a:pt x="7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2" name="Rectangle 12"/>
            <p:cNvSpPr>
              <a:spLocks noChangeArrowheads="1"/>
            </p:cNvSpPr>
            <p:nvPr/>
          </p:nvSpPr>
          <p:spPr bwMode="auto">
            <a:xfrm>
              <a:off x="6699250" y="4949825"/>
              <a:ext cx="103188" cy="646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6956425" y="4933950"/>
              <a:ext cx="536575" cy="661988"/>
            </a:xfrm>
            <a:custGeom>
              <a:avLst/>
              <a:gdLst>
                <a:gd name="T0" fmla="*/ 308 w 308"/>
                <a:gd name="T1" fmla="*/ 380 h 380"/>
                <a:gd name="T2" fmla="*/ 249 w 308"/>
                <a:gd name="T3" fmla="*/ 380 h 380"/>
                <a:gd name="T4" fmla="*/ 249 w 308"/>
                <a:gd name="T5" fmla="*/ 169 h 380"/>
                <a:gd name="T6" fmla="*/ 163 w 308"/>
                <a:gd name="T7" fmla="*/ 51 h 380"/>
                <a:gd name="T8" fmla="*/ 89 w 308"/>
                <a:gd name="T9" fmla="*/ 84 h 380"/>
                <a:gd name="T10" fmla="*/ 60 w 308"/>
                <a:gd name="T11" fmla="*/ 169 h 380"/>
                <a:gd name="T12" fmla="*/ 60 w 308"/>
                <a:gd name="T13" fmla="*/ 380 h 380"/>
                <a:gd name="T14" fmla="*/ 0 w 308"/>
                <a:gd name="T15" fmla="*/ 380 h 380"/>
                <a:gd name="T16" fmla="*/ 0 w 308"/>
                <a:gd name="T17" fmla="*/ 9 h 380"/>
                <a:gd name="T18" fmla="*/ 60 w 308"/>
                <a:gd name="T19" fmla="*/ 9 h 380"/>
                <a:gd name="T20" fmla="*/ 60 w 308"/>
                <a:gd name="T21" fmla="*/ 71 h 380"/>
                <a:gd name="T22" fmla="*/ 61 w 308"/>
                <a:gd name="T23" fmla="*/ 71 h 380"/>
                <a:gd name="T24" fmla="*/ 183 w 308"/>
                <a:gd name="T25" fmla="*/ 0 h 380"/>
                <a:gd name="T26" fmla="*/ 276 w 308"/>
                <a:gd name="T27" fmla="*/ 40 h 380"/>
                <a:gd name="T28" fmla="*/ 308 w 308"/>
                <a:gd name="T29" fmla="*/ 153 h 380"/>
                <a:gd name="T30" fmla="*/ 308 w 308"/>
                <a:gd name="T31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8" h="380">
                  <a:moveTo>
                    <a:pt x="308" y="380"/>
                  </a:moveTo>
                  <a:cubicBezTo>
                    <a:pt x="249" y="380"/>
                    <a:pt x="249" y="380"/>
                    <a:pt x="249" y="380"/>
                  </a:cubicBezTo>
                  <a:cubicBezTo>
                    <a:pt x="249" y="169"/>
                    <a:pt x="249" y="169"/>
                    <a:pt x="249" y="169"/>
                  </a:cubicBezTo>
                  <a:cubicBezTo>
                    <a:pt x="249" y="90"/>
                    <a:pt x="220" y="51"/>
                    <a:pt x="163" y="51"/>
                  </a:cubicBezTo>
                  <a:cubicBezTo>
                    <a:pt x="133" y="51"/>
                    <a:pt x="109" y="62"/>
                    <a:pt x="89" y="84"/>
                  </a:cubicBezTo>
                  <a:cubicBezTo>
                    <a:pt x="70" y="106"/>
                    <a:pt x="60" y="134"/>
                    <a:pt x="60" y="169"/>
                  </a:cubicBezTo>
                  <a:cubicBezTo>
                    <a:pt x="60" y="380"/>
                    <a:pt x="60" y="380"/>
                    <a:pt x="60" y="380"/>
                  </a:cubicBezTo>
                  <a:cubicBezTo>
                    <a:pt x="0" y="380"/>
                    <a:pt x="0" y="380"/>
                    <a:pt x="0" y="38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89" y="24"/>
                    <a:pt x="129" y="0"/>
                    <a:pt x="183" y="0"/>
                  </a:cubicBezTo>
                  <a:cubicBezTo>
                    <a:pt x="224" y="0"/>
                    <a:pt x="255" y="14"/>
                    <a:pt x="276" y="40"/>
                  </a:cubicBezTo>
                  <a:cubicBezTo>
                    <a:pt x="297" y="67"/>
                    <a:pt x="308" y="104"/>
                    <a:pt x="308" y="153"/>
                  </a:cubicBezTo>
                  <a:lnTo>
                    <a:pt x="308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/>
          </p:nvSpPr>
          <p:spPr bwMode="auto">
            <a:xfrm>
              <a:off x="7610475" y="4640263"/>
              <a:ext cx="595313" cy="971550"/>
            </a:xfrm>
            <a:custGeom>
              <a:avLst/>
              <a:gdLst>
                <a:gd name="T0" fmla="*/ 342 w 342"/>
                <a:gd name="T1" fmla="*/ 549 h 558"/>
                <a:gd name="T2" fmla="*/ 283 w 342"/>
                <a:gd name="T3" fmla="*/ 549 h 558"/>
                <a:gd name="T4" fmla="*/ 283 w 342"/>
                <a:gd name="T5" fmla="*/ 486 h 558"/>
                <a:gd name="T6" fmla="*/ 281 w 342"/>
                <a:gd name="T7" fmla="*/ 486 h 558"/>
                <a:gd name="T8" fmla="*/ 154 w 342"/>
                <a:gd name="T9" fmla="*/ 558 h 558"/>
                <a:gd name="T10" fmla="*/ 42 w 342"/>
                <a:gd name="T11" fmla="*/ 508 h 558"/>
                <a:gd name="T12" fmla="*/ 0 w 342"/>
                <a:gd name="T13" fmla="*/ 373 h 558"/>
                <a:gd name="T14" fmla="*/ 46 w 342"/>
                <a:gd name="T15" fmla="*/ 225 h 558"/>
                <a:gd name="T16" fmla="*/ 170 w 342"/>
                <a:gd name="T17" fmla="*/ 169 h 558"/>
                <a:gd name="T18" fmla="*/ 281 w 342"/>
                <a:gd name="T19" fmla="*/ 229 h 558"/>
                <a:gd name="T20" fmla="*/ 283 w 342"/>
                <a:gd name="T21" fmla="*/ 229 h 558"/>
                <a:gd name="T22" fmla="*/ 283 w 342"/>
                <a:gd name="T23" fmla="*/ 0 h 558"/>
                <a:gd name="T24" fmla="*/ 342 w 342"/>
                <a:gd name="T25" fmla="*/ 0 h 558"/>
                <a:gd name="T26" fmla="*/ 342 w 342"/>
                <a:gd name="T27" fmla="*/ 549 h 558"/>
                <a:gd name="T28" fmla="*/ 283 w 342"/>
                <a:gd name="T29" fmla="*/ 381 h 558"/>
                <a:gd name="T30" fmla="*/ 283 w 342"/>
                <a:gd name="T31" fmla="*/ 327 h 558"/>
                <a:gd name="T32" fmla="*/ 252 w 342"/>
                <a:gd name="T33" fmla="*/ 250 h 558"/>
                <a:gd name="T34" fmla="*/ 178 w 342"/>
                <a:gd name="T35" fmla="*/ 220 h 558"/>
                <a:gd name="T36" fmla="*/ 93 w 342"/>
                <a:gd name="T37" fmla="*/ 260 h 558"/>
                <a:gd name="T38" fmla="*/ 61 w 342"/>
                <a:gd name="T39" fmla="*/ 369 h 558"/>
                <a:gd name="T40" fmla="*/ 91 w 342"/>
                <a:gd name="T41" fmla="*/ 470 h 558"/>
                <a:gd name="T42" fmla="*/ 171 w 342"/>
                <a:gd name="T43" fmla="*/ 507 h 558"/>
                <a:gd name="T44" fmla="*/ 251 w 342"/>
                <a:gd name="T45" fmla="*/ 472 h 558"/>
                <a:gd name="T46" fmla="*/ 283 w 342"/>
                <a:gd name="T47" fmla="*/ 381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2" h="558">
                  <a:moveTo>
                    <a:pt x="342" y="549"/>
                  </a:moveTo>
                  <a:cubicBezTo>
                    <a:pt x="283" y="549"/>
                    <a:pt x="283" y="549"/>
                    <a:pt x="283" y="549"/>
                  </a:cubicBezTo>
                  <a:cubicBezTo>
                    <a:pt x="283" y="486"/>
                    <a:pt x="283" y="486"/>
                    <a:pt x="283" y="486"/>
                  </a:cubicBezTo>
                  <a:cubicBezTo>
                    <a:pt x="281" y="486"/>
                    <a:pt x="281" y="486"/>
                    <a:pt x="281" y="486"/>
                  </a:cubicBezTo>
                  <a:cubicBezTo>
                    <a:pt x="254" y="534"/>
                    <a:pt x="211" y="558"/>
                    <a:pt x="154" y="558"/>
                  </a:cubicBezTo>
                  <a:cubicBezTo>
                    <a:pt x="107" y="558"/>
                    <a:pt x="70" y="541"/>
                    <a:pt x="42" y="508"/>
                  </a:cubicBezTo>
                  <a:cubicBezTo>
                    <a:pt x="14" y="474"/>
                    <a:pt x="0" y="429"/>
                    <a:pt x="0" y="373"/>
                  </a:cubicBezTo>
                  <a:cubicBezTo>
                    <a:pt x="0" y="311"/>
                    <a:pt x="16" y="262"/>
                    <a:pt x="46" y="225"/>
                  </a:cubicBezTo>
                  <a:cubicBezTo>
                    <a:pt x="77" y="188"/>
                    <a:pt x="118" y="169"/>
                    <a:pt x="170" y="169"/>
                  </a:cubicBezTo>
                  <a:cubicBezTo>
                    <a:pt x="221" y="169"/>
                    <a:pt x="258" y="189"/>
                    <a:pt x="281" y="229"/>
                  </a:cubicBezTo>
                  <a:cubicBezTo>
                    <a:pt x="283" y="229"/>
                    <a:pt x="283" y="229"/>
                    <a:pt x="283" y="22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42" y="0"/>
                    <a:pt x="342" y="0"/>
                    <a:pt x="342" y="0"/>
                  </a:cubicBezTo>
                  <a:lnTo>
                    <a:pt x="342" y="549"/>
                  </a:lnTo>
                  <a:close/>
                  <a:moveTo>
                    <a:pt x="283" y="381"/>
                  </a:moveTo>
                  <a:cubicBezTo>
                    <a:pt x="283" y="327"/>
                    <a:pt x="283" y="327"/>
                    <a:pt x="283" y="327"/>
                  </a:cubicBezTo>
                  <a:cubicBezTo>
                    <a:pt x="283" y="296"/>
                    <a:pt x="272" y="271"/>
                    <a:pt x="252" y="250"/>
                  </a:cubicBezTo>
                  <a:cubicBezTo>
                    <a:pt x="232" y="230"/>
                    <a:pt x="207" y="220"/>
                    <a:pt x="178" y="220"/>
                  </a:cubicBezTo>
                  <a:cubicBezTo>
                    <a:pt x="142" y="220"/>
                    <a:pt x="114" y="233"/>
                    <a:pt x="93" y="260"/>
                  </a:cubicBezTo>
                  <a:cubicBezTo>
                    <a:pt x="72" y="286"/>
                    <a:pt x="61" y="323"/>
                    <a:pt x="61" y="369"/>
                  </a:cubicBezTo>
                  <a:cubicBezTo>
                    <a:pt x="61" y="412"/>
                    <a:pt x="71" y="446"/>
                    <a:pt x="91" y="470"/>
                  </a:cubicBezTo>
                  <a:cubicBezTo>
                    <a:pt x="111" y="495"/>
                    <a:pt x="137" y="507"/>
                    <a:pt x="171" y="507"/>
                  </a:cubicBezTo>
                  <a:cubicBezTo>
                    <a:pt x="203" y="507"/>
                    <a:pt x="230" y="496"/>
                    <a:pt x="251" y="472"/>
                  </a:cubicBezTo>
                  <a:cubicBezTo>
                    <a:pt x="272" y="448"/>
                    <a:pt x="283" y="418"/>
                    <a:pt x="283" y="3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5" name="Freeform 15"/>
            <p:cNvSpPr>
              <a:spLocks noEditPoints="1"/>
            </p:cNvSpPr>
            <p:nvPr/>
          </p:nvSpPr>
          <p:spPr bwMode="auto">
            <a:xfrm>
              <a:off x="8337550" y="4933950"/>
              <a:ext cx="635000" cy="677863"/>
            </a:xfrm>
            <a:custGeom>
              <a:avLst/>
              <a:gdLst>
                <a:gd name="T0" fmla="*/ 364 w 364"/>
                <a:gd name="T1" fmla="*/ 193 h 389"/>
                <a:gd name="T2" fmla="*/ 314 w 364"/>
                <a:gd name="T3" fmla="*/ 335 h 389"/>
                <a:gd name="T4" fmla="*/ 180 w 364"/>
                <a:gd name="T5" fmla="*/ 389 h 389"/>
                <a:gd name="T6" fmla="*/ 49 w 364"/>
                <a:gd name="T7" fmla="*/ 337 h 389"/>
                <a:gd name="T8" fmla="*/ 0 w 364"/>
                <a:gd name="T9" fmla="*/ 199 h 389"/>
                <a:gd name="T10" fmla="*/ 50 w 364"/>
                <a:gd name="T11" fmla="*/ 54 h 389"/>
                <a:gd name="T12" fmla="*/ 188 w 364"/>
                <a:gd name="T13" fmla="*/ 0 h 389"/>
                <a:gd name="T14" fmla="*/ 318 w 364"/>
                <a:gd name="T15" fmla="*/ 52 h 389"/>
                <a:gd name="T16" fmla="*/ 364 w 364"/>
                <a:gd name="T17" fmla="*/ 193 h 389"/>
                <a:gd name="T18" fmla="*/ 303 w 364"/>
                <a:gd name="T19" fmla="*/ 195 h 389"/>
                <a:gd name="T20" fmla="*/ 273 w 364"/>
                <a:gd name="T21" fmla="*/ 88 h 389"/>
                <a:gd name="T22" fmla="*/ 184 w 364"/>
                <a:gd name="T23" fmla="*/ 51 h 389"/>
                <a:gd name="T24" fmla="*/ 94 w 364"/>
                <a:gd name="T25" fmla="*/ 89 h 389"/>
                <a:gd name="T26" fmla="*/ 60 w 364"/>
                <a:gd name="T27" fmla="*/ 197 h 389"/>
                <a:gd name="T28" fmla="*/ 94 w 364"/>
                <a:gd name="T29" fmla="*/ 301 h 389"/>
                <a:gd name="T30" fmla="*/ 184 w 364"/>
                <a:gd name="T31" fmla="*/ 338 h 389"/>
                <a:gd name="T32" fmla="*/ 273 w 364"/>
                <a:gd name="T33" fmla="*/ 301 h 389"/>
                <a:gd name="T34" fmla="*/ 303 w 364"/>
                <a:gd name="T35" fmla="*/ 195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4" h="389">
                  <a:moveTo>
                    <a:pt x="364" y="193"/>
                  </a:moveTo>
                  <a:cubicBezTo>
                    <a:pt x="364" y="252"/>
                    <a:pt x="348" y="299"/>
                    <a:pt x="314" y="335"/>
                  </a:cubicBezTo>
                  <a:cubicBezTo>
                    <a:pt x="281" y="371"/>
                    <a:pt x="236" y="389"/>
                    <a:pt x="180" y="389"/>
                  </a:cubicBezTo>
                  <a:cubicBezTo>
                    <a:pt x="125" y="389"/>
                    <a:pt x="81" y="372"/>
                    <a:pt x="49" y="337"/>
                  </a:cubicBezTo>
                  <a:cubicBezTo>
                    <a:pt x="16" y="302"/>
                    <a:pt x="0" y="256"/>
                    <a:pt x="0" y="199"/>
                  </a:cubicBezTo>
                  <a:cubicBezTo>
                    <a:pt x="0" y="138"/>
                    <a:pt x="16" y="89"/>
                    <a:pt x="50" y="54"/>
                  </a:cubicBezTo>
                  <a:cubicBezTo>
                    <a:pt x="83" y="18"/>
                    <a:pt x="130" y="0"/>
                    <a:pt x="188" y="0"/>
                  </a:cubicBezTo>
                  <a:cubicBezTo>
                    <a:pt x="243" y="0"/>
                    <a:pt x="286" y="18"/>
                    <a:pt x="318" y="52"/>
                  </a:cubicBezTo>
                  <a:cubicBezTo>
                    <a:pt x="349" y="86"/>
                    <a:pt x="364" y="133"/>
                    <a:pt x="364" y="193"/>
                  </a:cubicBezTo>
                  <a:close/>
                  <a:moveTo>
                    <a:pt x="303" y="195"/>
                  </a:moveTo>
                  <a:cubicBezTo>
                    <a:pt x="303" y="149"/>
                    <a:pt x="293" y="113"/>
                    <a:pt x="273" y="88"/>
                  </a:cubicBezTo>
                  <a:cubicBezTo>
                    <a:pt x="252" y="63"/>
                    <a:pt x="222" y="51"/>
                    <a:pt x="184" y="51"/>
                  </a:cubicBezTo>
                  <a:cubicBezTo>
                    <a:pt x="146" y="51"/>
                    <a:pt x="116" y="64"/>
                    <a:pt x="94" y="89"/>
                  </a:cubicBezTo>
                  <a:cubicBezTo>
                    <a:pt x="71" y="115"/>
                    <a:pt x="60" y="151"/>
                    <a:pt x="60" y="197"/>
                  </a:cubicBezTo>
                  <a:cubicBezTo>
                    <a:pt x="60" y="241"/>
                    <a:pt x="71" y="276"/>
                    <a:pt x="94" y="301"/>
                  </a:cubicBezTo>
                  <a:cubicBezTo>
                    <a:pt x="116" y="326"/>
                    <a:pt x="146" y="338"/>
                    <a:pt x="184" y="338"/>
                  </a:cubicBezTo>
                  <a:cubicBezTo>
                    <a:pt x="223" y="338"/>
                    <a:pt x="252" y="326"/>
                    <a:pt x="273" y="301"/>
                  </a:cubicBezTo>
                  <a:cubicBezTo>
                    <a:pt x="293" y="277"/>
                    <a:pt x="303" y="241"/>
                    <a:pt x="303" y="1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9009063" y="4949825"/>
              <a:ext cx="901700" cy="646113"/>
            </a:xfrm>
            <a:custGeom>
              <a:avLst/>
              <a:gdLst>
                <a:gd name="T0" fmla="*/ 568 w 568"/>
                <a:gd name="T1" fmla="*/ 0 h 407"/>
                <a:gd name="T2" fmla="*/ 446 w 568"/>
                <a:gd name="T3" fmla="*/ 407 h 407"/>
                <a:gd name="T4" fmla="*/ 378 w 568"/>
                <a:gd name="T5" fmla="*/ 407 h 407"/>
                <a:gd name="T6" fmla="*/ 288 w 568"/>
                <a:gd name="T7" fmla="*/ 91 h 407"/>
                <a:gd name="T8" fmla="*/ 286 w 568"/>
                <a:gd name="T9" fmla="*/ 91 h 407"/>
                <a:gd name="T10" fmla="*/ 187 w 568"/>
                <a:gd name="T11" fmla="*/ 407 h 407"/>
                <a:gd name="T12" fmla="*/ 122 w 568"/>
                <a:gd name="T13" fmla="*/ 407 h 407"/>
                <a:gd name="T14" fmla="*/ 0 w 568"/>
                <a:gd name="T15" fmla="*/ 0 h 407"/>
                <a:gd name="T16" fmla="*/ 68 w 568"/>
                <a:gd name="T17" fmla="*/ 0 h 407"/>
                <a:gd name="T18" fmla="*/ 158 w 568"/>
                <a:gd name="T19" fmla="*/ 328 h 407"/>
                <a:gd name="T20" fmla="*/ 161 w 568"/>
                <a:gd name="T21" fmla="*/ 328 h 407"/>
                <a:gd name="T22" fmla="*/ 262 w 568"/>
                <a:gd name="T23" fmla="*/ 0 h 407"/>
                <a:gd name="T24" fmla="*/ 321 w 568"/>
                <a:gd name="T25" fmla="*/ 0 h 407"/>
                <a:gd name="T26" fmla="*/ 411 w 568"/>
                <a:gd name="T27" fmla="*/ 328 h 407"/>
                <a:gd name="T28" fmla="*/ 414 w 568"/>
                <a:gd name="T29" fmla="*/ 328 h 407"/>
                <a:gd name="T30" fmla="*/ 503 w 568"/>
                <a:gd name="T31" fmla="*/ 0 h 407"/>
                <a:gd name="T32" fmla="*/ 568 w 568"/>
                <a:gd name="T3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8" h="407">
                  <a:moveTo>
                    <a:pt x="568" y="0"/>
                  </a:moveTo>
                  <a:lnTo>
                    <a:pt x="446" y="407"/>
                  </a:lnTo>
                  <a:lnTo>
                    <a:pt x="378" y="407"/>
                  </a:lnTo>
                  <a:lnTo>
                    <a:pt x="288" y="91"/>
                  </a:lnTo>
                  <a:lnTo>
                    <a:pt x="286" y="91"/>
                  </a:lnTo>
                  <a:lnTo>
                    <a:pt x="187" y="407"/>
                  </a:lnTo>
                  <a:lnTo>
                    <a:pt x="122" y="407"/>
                  </a:lnTo>
                  <a:lnTo>
                    <a:pt x="0" y="0"/>
                  </a:lnTo>
                  <a:lnTo>
                    <a:pt x="68" y="0"/>
                  </a:lnTo>
                  <a:lnTo>
                    <a:pt x="158" y="328"/>
                  </a:lnTo>
                  <a:lnTo>
                    <a:pt x="161" y="328"/>
                  </a:lnTo>
                  <a:lnTo>
                    <a:pt x="262" y="0"/>
                  </a:lnTo>
                  <a:lnTo>
                    <a:pt x="321" y="0"/>
                  </a:lnTo>
                  <a:lnTo>
                    <a:pt x="411" y="328"/>
                  </a:lnTo>
                  <a:lnTo>
                    <a:pt x="414" y="328"/>
                  </a:lnTo>
                  <a:lnTo>
                    <a:pt x="503" y="0"/>
                  </a:lnTo>
                  <a:lnTo>
                    <a:pt x="56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9952038" y="4933950"/>
              <a:ext cx="395288" cy="677863"/>
            </a:xfrm>
            <a:custGeom>
              <a:avLst/>
              <a:gdLst>
                <a:gd name="T0" fmla="*/ 227 w 227"/>
                <a:gd name="T1" fmla="*/ 281 h 389"/>
                <a:gd name="T2" fmla="*/ 190 w 227"/>
                <a:gd name="T3" fmla="*/ 359 h 389"/>
                <a:gd name="T4" fmla="*/ 92 w 227"/>
                <a:gd name="T5" fmla="*/ 389 h 389"/>
                <a:gd name="T6" fmla="*/ 0 w 227"/>
                <a:gd name="T7" fmla="*/ 367 h 389"/>
                <a:gd name="T8" fmla="*/ 0 w 227"/>
                <a:gd name="T9" fmla="*/ 303 h 389"/>
                <a:gd name="T10" fmla="*/ 96 w 227"/>
                <a:gd name="T11" fmla="*/ 338 h 389"/>
                <a:gd name="T12" fmla="*/ 167 w 227"/>
                <a:gd name="T13" fmla="*/ 287 h 389"/>
                <a:gd name="T14" fmla="*/ 153 w 227"/>
                <a:gd name="T15" fmla="*/ 252 h 389"/>
                <a:gd name="T16" fmla="*/ 90 w 227"/>
                <a:gd name="T17" fmla="*/ 217 h 389"/>
                <a:gd name="T18" fmla="*/ 21 w 227"/>
                <a:gd name="T19" fmla="*/ 172 h 389"/>
                <a:gd name="T20" fmla="*/ 1 w 227"/>
                <a:gd name="T21" fmla="*/ 108 h 389"/>
                <a:gd name="T22" fmla="*/ 37 w 227"/>
                <a:gd name="T23" fmla="*/ 31 h 389"/>
                <a:gd name="T24" fmla="*/ 131 w 227"/>
                <a:gd name="T25" fmla="*/ 0 h 389"/>
                <a:gd name="T26" fmla="*/ 210 w 227"/>
                <a:gd name="T27" fmla="*/ 18 h 389"/>
                <a:gd name="T28" fmla="*/ 210 w 227"/>
                <a:gd name="T29" fmla="*/ 77 h 389"/>
                <a:gd name="T30" fmla="*/ 126 w 227"/>
                <a:gd name="T31" fmla="*/ 51 h 389"/>
                <a:gd name="T32" fmla="*/ 79 w 227"/>
                <a:gd name="T33" fmla="*/ 66 h 389"/>
                <a:gd name="T34" fmla="*/ 61 w 227"/>
                <a:gd name="T35" fmla="*/ 103 h 389"/>
                <a:gd name="T36" fmla="*/ 75 w 227"/>
                <a:gd name="T37" fmla="*/ 141 h 389"/>
                <a:gd name="T38" fmla="*/ 132 w 227"/>
                <a:gd name="T39" fmla="*/ 172 h 389"/>
                <a:gd name="T40" fmla="*/ 206 w 227"/>
                <a:gd name="T41" fmla="*/ 219 h 389"/>
                <a:gd name="T42" fmla="*/ 227 w 227"/>
                <a:gd name="T43" fmla="*/ 281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7" h="389">
                  <a:moveTo>
                    <a:pt x="227" y="281"/>
                  </a:moveTo>
                  <a:cubicBezTo>
                    <a:pt x="227" y="313"/>
                    <a:pt x="215" y="339"/>
                    <a:pt x="190" y="359"/>
                  </a:cubicBezTo>
                  <a:cubicBezTo>
                    <a:pt x="166" y="379"/>
                    <a:pt x="133" y="389"/>
                    <a:pt x="92" y="389"/>
                  </a:cubicBezTo>
                  <a:cubicBezTo>
                    <a:pt x="57" y="389"/>
                    <a:pt x="26" y="382"/>
                    <a:pt x="0" y="367"/>
                  </a:cubicBezTo>
                  <a:cubicBezTo>
                    <a:pt x="0" y="303"/>
                    <a:pt x="0" y="303"/>
                    <a:pt x="0" y="303"/>
                  </a:cubicBezTo>
                  <a:cubicBezTo>
                    <a:pt x="29" y="327"/>
                    <a:pt x="61" y="338"/>
                    <a:pt x="96" y="338"/>
                  </a:cubicBezTo>
                  <a:cubicBezTo>
                    <a:pt x="143" y="338"/>
                    <a:pt x="167" y="321"/>
                    <a:pt x="167" y="287"/>
                  </a:cubicBezTo>
                  <a:cubicBezTo>
                    <a:pt x="167" y="273"/>
                    <a:pt x="162" y="261"/>
                    <a:pt x="153" y="252"/>
                  </a:cubicBezTo>
                  <a:cubicBezTo>
                    <a:pt x="144" y="244"/>
                    <a:pt x="123" y="232"/>
                    <a:pt x="90" y="217"/>
                  </a:cubicBezTo>
                  <a:cubicBezTo>
                    <a:pt x="58" y="203"/>
                    <a:pt x="34" y="188"/>
                    <a:pt x="21" y="172"/>
                  </a:cubicBezTo>
                  <a:cubicBezTo>
                    <a:pt x="7" y="156"/>
                    <a:pt x="1" y="134"/>
                    <a:pt x="1" y="108"/>
                  </a:cubicBezTo>
                  <a:cubicBezTo>
                    <a:pt x="1" y="77"/>
                    <a:pt x="13" y="52"/>
                    <a:pt x="37" y="31"/>
                  </a:cubicBezTo>
                  <a:cubicBezTo>
                    <a:pt x="62" y="11"/>
                    <a:pt x="93" y="0"/>
                    <a:pt x="131" y="0"/>
                  </a:cubicBezTo>
                  <a:cubicBezTo>
                    <a:pt x="160" y="0"/>
                    <a:pt x="187" y="6"/>
                    <a:pt x="210" y="18"/>
                  </a:cubicBezTo>
                  <a:cubicBezTo>
                    <a:pt x="210" y="77"/>
                    <a:pt x="210" y="77"/>
                    <a:pt x="210" y="77"/>
                  </a:cubicBezTo>
                  <a:cubicBezTo>
                    <a:pt x="186" y="60"/>
                    <a:pt x="158" y="51"/>
                    <a:pt x="126" y="51"/>
                  </a:cubicBezTo>
                  <a:cubicBezTo>
                    <a:pt x="107" y="51"/>
                    <a:pt x="91" y="56"/>
                    <a:pt x="79" y="66"/>
                  </a:cubicBezTo>
                  <a:cubicBezTo>
                    <a:pt x="67" y="75"/>
                    <a:pt x="61" y="88"/>
                    <a:pt x="61" y="103"/>
                  </a:cubicBezTo>
                  <a:cubicBezTo>
                    <a:pt x="61" y="119"/>
                    <a:pt x="66" y="132"/>
                    <a:pt x="75" y="141"/>
                  </a:cubicBezTo>
                  <a:cubicBezTo>
                    <a:pt x="84" y="149"/>
                    <a:pt x="103" y="160"/>
                    <a:pt x="132" y="172"/>
                  </a:cubicBezTo>
                  <a:cubicBezTo>
                    <a:pt x="167" y="187"/>
                    <a:pt x="192" y="203"/>
                    <a:pt x="206" y="219"/>
                  </a:cubicBezTo>
                  <a:cubicBezTo>
                    <a:pt x="220" y="235"/>
                    <a:pt x="227" y="256"/>
                    <a:pt x="227" y="2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17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2" b="0" i="0" u="none" strike="noStrike" kern="1200" cap="none" spc="0" normalizeH="0" baseline="0" noProof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703376" y="3638682"/>
            <a:ext cx="2937769" cy="1262010"/>
          </a:xfrm>
          <a:prstGeom prst="rect">
            <a:avLst/>
          </a:prstGeom>
          <a:noFill/>
        </p:spPr>
        <p:txBody>
          <a:bodyPr wrap="none" lIns="139761" tIns="111808" rIns="139761" bIns="111808" rtlCol="0">
            <a:spAutoFit/>
          </a:bodyPr>
          <a:lstStyle/>
          <a:p>
            <a:pPr marL="0" marR="0" lvl="0" indent="0" algn="l" defTabSz="931734" rtl="0" eaLnBrk="1" fontAlgn="auto" latinLnBrk="0" hangingPunct="1">
              <a:lnSpc>
                <a:spcPct val="90000"/>
              </a:lnSpc>
              <a:spcBef>
                <a:spcPts val="61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33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DEMO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734789" y="751182"/>
            <a:ext cx="10966899" cy="2748968"/>
          </a:xfrm>
        </p:spPr>
        <p:txBody>
          <a:bodyPr anchor="b" anchorCtr="0">
            <a:noAutofit/>
          </a:bodyPr>
          <a:lstStyle>
            <a:lvl1pPr algn="l">
              <a:defRPr sz="733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69856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cor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0" y="1"/>
            <a:ext cx="12436475" cy="742187"/>
          </a:xfrm>
        </p:spPr>
        <p:txBody>
          <a:bodyPr/>
          <a:lstStyle/>
          <a:p>
            <a:r>
              <a:rPr lang="en-US"/>
              <a:t>Click icon to add medi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6800" y="3889637"/>
            <a:ext cx="8402880" cy="254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91315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 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4762" y="2284962"/>
            <a:ext cx="7085320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5999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75399" y="3768007"/>
            <a:ext cx="708643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273836" y="3497263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4443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85065E-6 2.19246E-6 " pathEditMode="relative" rAng="0" ptsTypes="AA">
                                      <p:cBhvr>
                                        <p:cTn id="12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85065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8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69311968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1098797"/>
      </p:ext>
    </p:extLst>
  </p:cSld>
  <p:clrMapOvr>
    <a:masterClrMapping/>
  </p:clrMapOvr>
  <p:transition spd="slow">
    <p:push dir="u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8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89927895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8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10584610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8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65519843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2445921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912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223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479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0350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11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333333"/>
                    </a:gs>
                    <a:gs pos="100000">
                      <a:srgbClr val="333333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231" y="3145040"/>
            <a:ext cx="3291840" cy="705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50400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820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4695782"/>
      </p:ext>
    </p:extLst>
  </p:cSld>
  <p:clrMapOvr>
    <a:masterClrMapping/>
  </p:clrMapOvr>
  <p:transition spd="slow">
    <p:push dir="u"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2066684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23550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86694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5737925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5577445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657889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4567623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604923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35266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8316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1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670737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7150322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9783728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11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814516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3209447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554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8487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26468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26468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E7B94D1A-0277-43F2-91AF-16186F4AA5C7}" type="datetimeFigureOut">
              <a:rPr lang="en-US" sz="1836" smtClean="0">
                <a:solidFill>
                  <a:srgbClr val="404040"/>
                </a:solidFill>
              </a:rPr>
              <a:pPr defTabSz="932563"/>
              <a:t>6/23/2016</a:t>
            </a:fld>
            <a:endParaRPr lang="en-US" sz="1836">
              <a:solidFill>
                <a:srgbClr val="40404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563"/>
            <a:endParaRPr lang="en-US" sz="1836">
              <a:solidFill>
                <a:srgbClr val="40404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F244BFF5-CF07-4137-9059-16D41660439E}" type="slidenum">
              <a:rPr lang="en-US" sz="1836" smtClean="0">
                <a:solidFill>
                  <a:srgbClr val="404040"/>
                </a:solidFill>
              </a:rPr>
              <a:pPr defTabSz="932563"/>
              <a:t>‹#›</a:t>
            </a:fld>
            <a:endParaRPr lang="en-US" sz="1836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24499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561639" y="6267914"/>
            <a:ext cx="1382813" cy="296502"/>
          </a:xfrm>
          <a:prstGeom prst="rect">
            <a:avLst/>
          </a:prstGeom>
        </p:spPr>
      </p:pic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2137569" y="2473327"/>
            <a:ext cx="8161337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defTabSz="932502"/>
            <a:endParaRPr lang="en-US" sz="180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948844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1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8"/>
            <a:ext cx="7315138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7584" y="6240428"/>
            <a:ext cx="1280587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11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3730107"/>
      </p:ext>
    </p:extLst>
  </p:cSld>
  <p:clrMapOvr>
    <a:masterClrMapping/>
  </p:clrMapOvr>
  <p:transition spd="slow">
    <p:push dir="u"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9181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42" indent="0">
              <a:buNone/>
              <a:defRPr/>
            </a:lvl3pPr>
            <a:lvl4pPr marL="457082" indent="0">
              <a:buNone/>
              <a:defRPr/>
            </a:lvl4pPr>
            <a:lvl5pPr marL="68562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588303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159483"/>
          </a:xfrm>
        </p:spPr>
        <p:txBody>
          <a:bodyPr>
            <a:spAutoFit/>
          </a:bodyPr>
          <a:lstStyle>
            <a:lvl1pPr>
              <a:defRPr sz="399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7385231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50"/>
            <a:ext cx="5486399" cy="198108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15" indent="0">
              <a:buNone/>
              <a:tabLst/>
              <a:defRPr sz="2000"/>
            </a:lvl3pPr>
            <a:lvl4pPr marL="460256" indent="0">
              <a:buNone/>
              <a:defRPr/>
            </a:lvl4pPr>
            <a:lvl5pPr marL="685624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41" y="1212850"/>
            <a:ext cx="5486399" cy="198108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15" indent="0">
              <a:buNone/>
              <a:tabLst/>
              <a:defRPr sz="2000"/>
            </a:lvl3pPr>
            <a:lvl4pPr marL="460256" indent="0">
              <a:buNone/>
              <a:defRPr/>
            </a:lvl4pPr>
            <a:lvl5pPr marL="685624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855175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50"/>
            <a:ext cx="5486399" cy="2491872"/>
          </a:xfrm>
        </p:spPr>
        <p:txBody>
          <a:bodyPr wrap="square">
            <a:spAutoFit/>
          </a:bodyPr>
          <a:lstStyle>
            <a:lvl1pPr marL="287265" indent="-287265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29" indent="-233134">
              <a:defRPr sz="2400"/>
            </a:lvl2pPr>
            <a:lvl3pPr marL="699405" indent="-168374">
              <a:tabLst/>
              <a:defRPr sz="2000"/>
            </a:lvl3pPr>
            <a:lvl4pPr marL="880731" indent="-181327">
              <a:defRPr/>
            </a:lvl4pPr>
            <a:lvl5pPr marL="1049107" indent="-1683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41" y="1212850"/>
            <a:ext cx="5486399" cy="2491872"/>
          </a:xfrm>
        </p:spPr>
        <p:txBody>
          <a:bodyPr wrap="square">
            <a:spAutoFit/>
          </a:bodyPr>
          <a:lstStyle>
            <a:lvl1pPr marL="287265" indent="-287265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29" indent="-233134">
              <a:defRPr sz="2400"/>
            </a:lvl2pPr>
            <a:lvl3pPr marL="699405" indent="-168374">
              <a:tabLst/>
              <a:defRPr sz="2000"/>
            </a:lvl3pPr>
            <a:lvl4pPr marL="880731" indent="-181327">
              <a:defRPr/>
            </a:lvl4pPr>
            <a:lvl5pPr marL="1049107" indent="-16837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087670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610345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883664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1" y="2284963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5999" spc="-10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9" y="3768007"/>
            <a:ext cx="10058400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030878" y="3497263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53079" y="4290792"/>
            <a:ext cx="10058400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2987630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1.52668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400" y="2284963"/>
            <a:ext cx="7086439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5999" spc="-10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6037" y="3768007"/>
            <a:ext cx="708755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ontent placeholder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273837" y="3497263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96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28389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28389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2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690793652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2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9502742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9232" y="3145040"/>
            <a:ext cx="3291840" cy="70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002330"/>
      </p:ext>
    </p:extLst>
  </p:cSld>
  <p:clrMapOvr>
    <a:masterClrMapping/>
  </p:clrMapOvr>
  <p:transition spd="slow">
    <p:push dir="u"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2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90682114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2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9866658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3442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9" spc="-101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00341818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_BUILD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 noEditPoints="1"/>
          </p:cNvSpPr>
          <p:nvPr userDrawn="1"/>
        </p:nvSpPr>
        <p:spPr bwMode="black">
          <a:xfrm>
            <a:off x="10744290" y="6344304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defTabSz="932502"/>
            <a:endParaRPr lang="en-US" sz="180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426084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_BUIL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90" y="6344304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defTabSz="932502"/>
            <a:endParaRPr lang="en-US" sz="180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916289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_BUILD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 noEditPoints="1"/>
          </p:cNvSpPr>
          <p:nvPr userDrawn="1"/>
        </p:nvSpPr>
        <p:spPr bwMode="black">
          <a:xfrm>
            <a:off x="10744290" y="6344304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defTabSz="932502"/>
            <a:endParaRPr lang="en-US" sz="180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324728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_BUILD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10744290" y="6344304"/>
            <a:ext cx="1408240" cy="353361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defTabSz="932502"/>
            <a:endParaRPr lang="en-US" sz="1801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196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8846002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9685440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623062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049978"/>
      </p:ext>
    </p:extLst>
  </p:cSld>
  <p:clrMapOvr>
    <a:masterClrMapping/>
  </p:clrMapOvr>
  <p:transition spd="slow">
    <p:push dir="u"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6871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2638965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94477"/>
            <a:ext cx="11887199" cy="40314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28" tIns="146262" rIns="182828" bIns="146262" numCol="1" anchor="t" anchorCtr="0" compatLnSpc="1">
            <a:prstTxWarp prst="textNoShape">
              <a:avLst/>
            </a:prstTxWarp>
            <a:spAutoFit/>
          </a:bodyPr>
          <a:lstStyle/>
          <a:p>
            <a:pPr defTabSz="932050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9233" y="3145039"/>
            <a:ext cx="3291840" cy="70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539585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2"/>
            <a:ext cx="11887200" cy="2510095"/>
          </a:xfrm>
          <a:prstGeom prst="rect">
            <a:avLst/>
          </a:prstGeom>
        </p:spPr>
        <p:txBody>
          <a:bodyPr/>
          <a:lstStyle>
            <a:lvl1pPr marL="290438" indent="-290438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53" indent="-28091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790" indent="-290438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332" indent="-228542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872" indent="-228542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63077"/>
            <a:ext cx="12436476" cy="631451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273687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81948" y="6380761"/>
            <a:ext cx="2798207" cy="372394"/>
          </a:xfrm>
          <a:prstGeom prst="rect">
            <a:avLst/>
          </a:prstGeom>
        </p:spPr>
        <p:txBody>
          <a:bodyPr/>
          <a:lstStyle/>
          <a:p>
            <a:pPr algn="r" defTabSz="932333">
              <a:defRPr/>
            </a:pPr>
            <a:fld id="{0A164282-434E-41D4-9582-783D542A7B68}" type="slidenum">
              <a:rPr lang="en-US" sz="2040" smtClean="0">
                <a:solidFill>
                  <a:srgbClr val="289FD7"/>
                </a:solidFill>
                <a:latin typeface="Segoe UI Light"/>
              </a:rPr>
              <a:pPr algn="r" defTabSz="932333">
                <a:defRPr/>
              </a:pPr>
              <a:t>‹#›</a:t>
            </a:fld>
            <a:endParaRPr lang="en-US" sz="2040">
              <a:solidFill>
                <a:srgbClr val="289FD7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6775491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01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auto">
          <a:xfrm>
            <a:off x="274638" y="2119165"/>
            <a:ext cx="6400800" cy="3664099"/>
          </a:xfrm>
          <a:prstGeom prst="rect">
            <a:avLst/>
          </a:prstGeom>
          <a:solidFill>
            <a:srgbClr val="FFFFFF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74702" y="2119178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398" spc="-100" baseline="0">
                <a:solidFill>
                  <a:srgbClr val="171717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6402388" cy="182880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98">
                <a:solidFill>
                  <a:srgbClr val="171717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61639" y="6269237"/>
            <a:ext cx="1382813" cy="2951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8923310"/>
      </p:ext>
    </p:extLst>
  </p:cSld>
  <p:clrMapOvr>
    <a:masterClrMapping/>
  </p:clrMapOvr>
  <p:transition spd="slow">
    <p:push dir="u"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13" indent="0">
              <a:buNone/>
              <a:defRPr/>
            </a:lvl3pPr>
            <a:lvl4pPr marL="457024" indent="0">
              <a:buNone/>
              <a:defRPr/>
            </a:lvl4pPr>
            <a:lvl5pPr marL="6855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8335241"/>
      </p:ext>
    </p:extLst>
  </p:cSld>
  <p:clrMapOvr>
    <a:masterClrMapping/>
  </p:clrMapOvr>
  <p:transition spd="slow">
    <p:push dir="u"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13" indent="0">
              <a:buNone/>
              <a:defRPr/>
            </a:lvl3pPr>
            <a:lvl4pPr marL="457024" indent="0">
              <a:buNone/>
              <a:defRPr/>
            </a:lvl4pPr>
            <a:lvl5pPr marL="6855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987575"/>
      </p:ext>
    </p:extLst>
  </p:cSld>
  <p:clrMapOvr>
    <a:masterClrMapping/>
  </p:clrMapOvr>
  <p:transition spd="slow">
    <p:push dir="u"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11887200" cy="2092881"/>
          </a:xfrm>
        </p:spPr>
        <p:txBody>
          <a:bodyPr>
            <a:spAutoFit/>
          </a:bodyPr>
          <a:lstStyle>
            <a:lvl1pPr>
              <a:defRPr sz="39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8489006"/>
      </p:ext>
    </p:extLst>
  </p:cSld>
  <p:clrMapOvr>
    <a:masterClrMapping/>
  </p:clrMapOvr>
  <p:transition spd="slow">
    <p:push dir="u"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11887200" cy="2092881"/>
          </a:xfrm>
        </p:spPr>
        <p:txBody>
          <a:bodyPr>
            <a:spAutoFit/>
          </a:bodyPr>
          <a:lstStyle>
            <a:lvl1pPr>
              <a:defRPr sz="399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3958981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452543359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22495"/>
      </p:ext>
    </p:extLst>
  </p:cSld>
  <p:clrMapOvr>
    <a:masterClrMapping/>
  </p:clrMapOvr>
  <p:transition spd="slow">
    <p:push dir="u"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371441"/>
      </p:ext>
    </p:extLst>
  </p:cSld>
  <p:clrMapOvr>
    <a:masterClrMapping/>
  </p:clrMapOvr>
  <p:transition spd="slow">
    <p:push dir="u"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49"/>
            <a:ext cx="5486399" cy="2425279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981560"/>
      </p:ext>
    </p:extLst>
  </p:cSld>
  <p:clrMapOvr>
    <a:masterClrMapping/>
  </p:clrMapOvr>
  <p:transition spd="slow">
    <p:push dir="u"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49"/>
            <a:ext cx="5486399" cy="2425279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8"/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8"/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370820"/>
      </p:ext>
    </p:extLst>
  </p:cSld>
  <p:clrMapOvr>
    <a:masterClrMapping/>
  </p:clrMapOvr>
  <p:transition spd="slow">
    <p:push dir="u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817715"/>
      </p:ext>
    </p:extLst>
  </p:cSld>
  <p:clrMapOvr>
    <a:masterClrMapping/>
  </p:clrMapOvr>
  <p:transition spd="slow">
    <p:push dir="u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ll Out"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3026800"/>
            <a:ext cx="11870358" cy="940926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algn="l">
              <a:defRPr sz="543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650864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3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59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9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030877" y="3497263"/>
            <a:ext cx="7312820" cy="0"/>
          </a:xfrm>
          <a:prstGeom prst="line">
            <a:avLst/>
          </a:prstGeom>
          <a:ln w="12700">
            <a:solidFill>
              <a:schemeClr val="bg2">
                <a:lumMod val="40000"/>
                <a:lumOff val="60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53079" y="4290792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3473854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15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3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59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9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030877" y="3497263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53079" y="4290792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181137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15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 Lead-in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734790" y="751183"/>
            <a:ext cx="10966899" cy="2748968"/>
          </a:xfrm>
        </p:spPr>
        <p:txBody>
          <a:bodyPr anchor="b" anchorCtr="0">
            <a:noAutofit/>
          </a:bodyPr>
          <a:lstStyle>
            <a:lvl1pPr algn="l">
              <a:defRPr sz="733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8480939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cor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0" y="2"/>
            <a:ext cx="12436475" cy="742187"/>
          </a:xfrm>
        </p:spPr>
        <p:txBody>
          <a:bodyPr/>
          <a:lstStyle/>
          <a:p>
            <a:r>
              <a:rPr lang="en-US"/>
              <a:t>Click icon to add medi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6801" y="3889637"/>
            <a:ext cx="8402880" cy="254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462446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1861547542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 slide Charco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4762" y="2284963"/>
            <a:ext cx="7085320" cy="1015663"/>
          </a:xfrm>
          <a:noFill/>
        </p:spPr>
        <p:txBody>
          <a:bodyPr wrap="square" tIns="91440" bIns="91440" anchor="b" anchorCtr="0">
            <a:spAutoFit/>
          </a:bodyPr>
          <a:lstStyle>
            <a:lvl1pPr>
              <a:defRPr sz="59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nnouncing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75399" y="3768007"/>
            <a:ext cx="7086439" cy="6832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273836" y="3497263"/>
            <a:ext cx="632866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9855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-4.85065E-6 2.19246E-6 " pathEditMode="relative" rAng="0" ptsTypes="AA">
                                      <p:cBhvr>
                                        <p:cTn id="12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-4.85065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9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8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426846391"/>
      </p:ext>
    </p:extLst>
  </p:cSld>
  <p:clrMapOvr>
    <a:masterClrMapping/>
  </p:clrMapOvr>
  <p:transition spd="slow">
    <p:push dir="u"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9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46436538"/>
      </p:ext>
    </p:extLst>
  </p:cSld>
  <p:clrMapOvr>
    <a:masterClrMapping/>
  </p:clrMapOvr>
  <p:transition spd="slow">
    <p:push dir="u"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9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8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08475392"/>
      </p:ext>
    </p:extLst>
  </p:cSld>
  <p:clrMapOvr>
    <a:masterClrMapping/>
  </p:clrMapOvr>
  <p:transition spd="slow">
    <p:push dir="u"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67039"/>
            <a:ext cx="11329398" cy="101566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5998" spc="-1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2945644"/>
      </p:ext>
    </p:extLst>
  </p:cSld>
  <p:clrMapOvr>
    <a:masterClrMapping/>
  </p:clrMapOvr>
  <p:transition spd="slow">
    <p:push dir="u"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9065028"/>
      </p:ext>
    </p:extLst>
  </p:cSld>
  <p:clrMapOvr>
    <a:masterClrMapping/>
  </p:clrMapOvr>
  <p:transition spd="slow">
    <p:push dir="u"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sil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0490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65132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1474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cya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4818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0528718"/>
      </p:ext>
    </p:extLst>
  </p:cSld>
  <p:clrMapOvr>
    <a:masterClrMapping/>
  </p:clrMapOvr>
  <p:transition spd="slow">
    <p:push dir="u"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8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28" tIns="146262" rIns="182828" bIns="146262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193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333333"/>
                    </a:gs>
                    <a:gs pos="100000">
                      <a:srgbClr val="333333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232" y="3145040"/>
            <a:ext cx="3291840" cy="705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003185"/>
      </p:ext>
    </p:extLst>
  </p:cSld>
  <p:clrMapOvr>
    <a:masterClrMapping/>
  </p:clrMapOvr>
  <p:transition spd="slow">
    <p:push dir="u"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40" y="1212852"/>
            <a:ext cx="11887200" cy="2443746"/>
          </a:xfrm>
          <a:prstGeom prst="rect">
            <a:avLst/>
          </a:prstGeom>
        </p:spPr>
        <p:txBody>
          <a:bodyPr/>
          <a:lstStyle>
            <a:lvl1pPr marL="290401" indent="-290401">
              <a:buClr>
                <a:schemeClr val="tx1"/>
              </a:buClr>
              <a:buSzPct val="90000"/>
              <a:buFont typeface="Arial" pitchFamily="34" charset="0"/>
              <a:buChar char="•"/>
              <a:defRPr sz="359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281" indent="-280881">
              <a:buClr>
                <a:schemeClr val="tx1"/>
              </a:buClr>
              <a:buSzPct val="90000"/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682" indent="-290401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195" indent="-228513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706" indent="-228513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8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834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6386615"/>
      </p:ext>
    </p:extLst>
  </p:cSld>
  <p:clrMapOvr>
    <a:masterClrMapping/>
  </p:clrMapOvr>
  <p:transition spd="slow">
    <p:push dir="u"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421365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581" y="6243237"/>
            <a:ext cx="1280160" cy="274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65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025532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768845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1651283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932895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61754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96468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0716560"/>
      </p:ext>
    </p:extLst>
  </p:cSld>
  <p:clrMapOvr>
    <a:masterClrMapping/>
  </p:clrMapOvr>
  <p:transition spd="slow">
    <p:push dir="u"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785955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510719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842975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730186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75094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974571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21260090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69681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29680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88976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960892"/>
      </p:ext>
    </p:extLst>
  </p:cSld>
  <p:clrMapOvr>
    <a:masterClrMapping/>
  </p:clrMapOvr>
  <p:transition spd="slow">
    <p:push dir="u"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4231447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1058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96216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1209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745764"/>
      </p:ext>
    </p:extLst>
  </p:cSld>
  <p:clrMapOvr>
    <a:masterClrMapping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231" y="3145040"/>
            <a:ext cx="3291840" cy="70583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231" y="3145040"/>
            <a:ext cx="3291840" cy="705834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139368328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233" y="3145040"/>
            <a:ext cx="3291840" cy="705836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93649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887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349534"/>
      </p:ext>
    </p:extLst>
  </p:cSld>
  <p:clrMapOvr>
    <a:masterClrMapping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4444776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8661628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946858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628464"/>
      </p:ext>
    </p:extLst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925976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32655475"/>
      </p:ext>
    </p:extLst>
  </p:cSld>
  <p:clrMapOvr>
    <a:masterClrMapping/>
  </p:clrMapOvr>
  <p:transition spd="slow">
    <p:push dir="u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418342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1923176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7213995"/>
      </p:ext>
    </p:extLst>
  </p:cSld>
  <p:clrMapOvr>
    <a:masterClrMapping/>
  </p:clrMapOvr>
  <p:transition spd="slow">
    <p:push dir="u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384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186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777601"/>
      </p:ext>
    </p:extLst>
  </p:cSld>
  <p:clrMapOvr>
    <a:masterClrMapping/>
  </p:clrMapOvr>
  <p:transition spd="slow">
    <p:push dir="u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769124"/>
      </p:ext>
    </p:extLst>
  </p:cSld>
  <p:clrMapOvr>
    <a:masterClrMapping/>
  </p:clrMapOvr>
  <p:transition spd="slow">
    <p:push dir="u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6979119"/>
      </p:ext>
    </p:extLst>
  </p:cSld>
  <p:clrMapOvr>
    <a:masterClrMapping/>
  </p:clrMapOvr>
  <p:transition spd="slow">
    <p:push dir="u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9700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25467447"/>
      </p:ext>
    </p:extLst>
  </p:cSld>
  <p:clrMapOvr>
    <a:masterClrMapping/>
  </p:clrMapOvr>
  <p:transition spd="slow">
    <p:push dir="u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4" y="6673146"/>
            <a:ext cx="501211" cy="372394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17203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7915607"/>
      </p:ext>
    </p:extLst>
  </p:cSld>
  <p:clrMapOvr>
    <a:masterClrMapping/>
  </p:clrMapOvr>
  <p:transition spd="slow">
    <p:push dir="u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4792815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8932315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98579" y="2226883"/>
            <a:ext cx="10445796" cy="941710"/>
          </a:xfrm>
        </p:spPr>
        <p:txBody>
          <a:bodyPr anchor="b" anchorCtr="0"/>
          <a:lstStyle>
            <a:lvl1pPr>
              <a:defRPr sz="6833" spc="-154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98579" y="3494028"/>
            <a:ext cx="10445796" cy="50852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pc="-72" baseline="0">
                <a:solidFill>
                  <a:schemeClr val="tx2">
                    <a:lumMod val="40000"/>
                    <a:lumOff val="60000"/>
                    <a:alpha val="99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452" name="Rectangle 451"/>
          <p:cNvSpPr/>
          <p:nvPr userDrawn="1"/>
        </p:nvSpPr>
        <p:spPr bwMode="auto">
          <a:xfrm>
            <a:off x="10048069" y="-163736"/>
            <a:ext cx="1865957" cy="1865207"/>
          </a:xfrm>
          <a:prstGeom prst="rect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3" name="Rectangle 452"/>
          <p:cNvSpPr/>
          <p:nvPr userDrawn="1"/>
        </p:nvSpPr>
        <p:spPr bwMode="auto">
          <a:xfrm>
            <a:off x="9450713" y="1324431"/>
            <a:ext cx="1194707" cy="1194226"/>
          </a:xfrm>
          <a:prstGeom prst="rect">
            <a:avLst/>
          </a:prstGeom>
          <a:noFill/>
          <a:ln w="57150">
            <a:solidFill>
              <a:schemeClr val="tx1">
                <a:alpha val="2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4" name="Rectangle 453"/>
          <p:cNvSpPr/>
          <p:nvPr userDrawn="1"/>
        </p:nvSpPr>
        <p:spPr bwMode="auto">
          <a:xfrm>
            <a:off x="9450716" y="-163735"/>
            <a:ext cx="892788" cy="892430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5" name="Rectangle 454"/>
          <p:cNvSpPr/>
          <p:nvPr userDrawn="1"/>
        </p:nvSpPr>
        <p:spPr bwMode="auto">
          <a:xfrm>
            <a:off x="8386101" y="1451389"/>
            <a:ext cx="678952" cy="678679"/>
          </a:xfrm>
          <a:prstGeom prst="rect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6" name="Rectangle 455"/>
          <p:cNvSpPr/>
          <p:nvPr userDrawn="1"/>
        </p:nvSpPr>
        <p:spPr bwMode="auto">
          <a:xfrm>
            <a:off x="9450713" y="5868098"/>
            <a:ext cx="1194707" cy="1194226"/>
          </a:xfrm>
          <a:prstGeom prst="rect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7" name="Rectangle 456"/>
          <p:cNvSpPr/>
          <p:nvPr userDrawn="1"/>
        </p:nvSpPr>
        <p:spPr bwMode="auto">
          <a:xfrm>
            <a:off x="10741724" y="5182575"/>
            <a:ext cx="789636" cy="789319"/>
          </a:xfrm>
          <a:prstGeom prst="rect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8" name="Rectangle 457"/>
          <p:cNvSpPr/>
          <p:nvPr userDrawn="1"/>
        </p:nvSpPr>
        <p:spPr bwMode="auto">
          <a:xfrm>
            <a:off x="11444375" y="5721977"/>
            <a:ext cx="323147" cy="323017"/>
          </a:xfrm>
          <a:prstGeom prst="rect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9" name="Rectangle 458"/>
          <p:cNvSpPr/>
          <p:nvPr userDrawn="1"/>
        </p:nvSpPr>
        <p:spPr bwMode="auto">
          <a:xfrm>
            <a:off x="10838716" y="6465214"/>
            <a:ext cx="2409262" cy="2408294"/>
          </a:xfrm>
          <a:prstGeom prst="rect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0" name="Rectangle 459"/>
          <p:cNvSpPr/>
          <p:nvPr userDrawn="1"/>
        </p:nvSpPr>
        <p:spPr bwMode="auto">
          <a:xfrm>
            <a:off x="695802" y="450918"/>
            <a:ext cx="1281085" cy="1280570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1" name="Rectangle 460"/>
          <p:cNvSpPr/>
          <p:nvPr userDrawn="1"/>
        </p:nvSpPr>
        <p:spPr bwMode="auto">
          <a:xfrm>
            <a:off x="1904367" y="-163735"/>
            <a:ext cx="523617" cy="523407"/>
          </a:xfrm>
          <a:prstGeom prst="rect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2" name="Rectangle 461"/>
          <p:cNvSpPr/>
          <p:nvPr userDrawn="1"/>
        </p:nvSpPr>
        <p:spPr bwMode="auto">
          <a:xfrm>
            <a:off x="11988601" y="1258991"/>
            <a:ext cx="249441" cy="249342"/>
          </a:xfrm>
          <a:prstGeom prst="rect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3" name="Rectangle 462"/>
          <p:cNvSpPr/>
          <p:nvPr userDrawn="1"/>
        </p:nvSpPr>
        <p:spPr bwMode="auto">
          <a:xfrm>
            <a:off x="5942897" y="1956612"/>
            <a:ext cx="892788" cy="892430"/>
          </a:xfrm>
          <a:prstGeom prst="rect">
            <a:avLst/>
          </a:prstGeom>
          <a:noFill/>
          <a:ln w="952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4" name="Rectangle 463"/>
          <p:cNvSpPr/>
          <p:nvPr userDrawn="1"/>
        </p:nvSpPr>
        <p:spPr bwMode="auto">
          <a:xfrm>
            <a:off x="5074503" y="5517988"/>
            <a:ext cx="615664" cy="615416"/>
          </a:xfrm>
          <a:prstGeom prst="rect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5" name="Rectangle 464"/>
          <p:cNvSpPr/>
          <p:nvPr userDrawn="1"/>
        </p:nvSpPr>
        <p:spPr bwMode="auto">
          <a:xfrm>
            <a:off x="5743810" y="4775079"/>
            <a:ext cx="1051037" cy="1050615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3868130"/>
      </p:ext>
    </p:extLst>
  </p:cSld>
  <p:clrMapOvr>
    <a:masterClrMapping/>
  </p:clrMapOvr>
  <p:transition spd="slow">
    <p:push dir="u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9660" y="3026416"/>
            <a:ext cx="11375537" cy="941710"/>
          </a:xfrm>
        </p:spPr>
        <p:txBody>
          <a:bodyPr anchor="ctr" anchorCtr="0"/>
          <a:lstStyle>
            <a:lvl1pPr>
              <a:defRPr sz="6833" spc="-306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Oval 2"/>
          <p:cNvSpPr/>
          <p:nvPr userDrawn="1"/>
        </p:nvSpPr>
        <p:spPr bwMode="auto">
          <a:xfrm>
            <a:off x="10409715" y="-391056"/>
            <a:ext cx="1865957" cy="1865207"/>
          </a:xfrm>
          <a:prstGeom prst="ellipse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/>
          <p:cNvSpPr/>
          <p:nvPr userDrawn="1"/>
        </p:nvSpPr>
        <p:spPr bwMode="auto">
          <a:xfrm>
            <a:off x="9812358" y="1097110"/>
            <a:ext cx="1194707" cy="1194226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/>
          <p:cNvSpPr/>
          <p:nvPr userDrawn="1"/>
        </p:nvSpPr>
        <p:spPr bwMode="auto">
          <a:xfrm>
            <a:off x="9812358" y="-391056"/>
            <a:ext cx="892788" cy="892430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Oval 5"/>
          <p:cNvSpPr/>
          <p:nvPr userDrawn="1"/>
        </p:nvSpPr>
        <p:spPr bwMode="auto">
          <a:xfrm>
            <a:off x="8747745" y="1224071"/>
            <a:ext cx="678952" cy="678679"/>
          </a:xfrm>
          <a:prstGeom prst="ellipse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9683035" y="5609392"/>
            <a:ext cx="1194707" cy="1194226"/>
          </a:xfrm>
          <a:prstGeom prst="ellipse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10974049" y="4923871"/>
            <a:ext cx="789636" cy="789319"/>
          </a:xfrm>
          <a:prstGeom prst="ellipse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Oval 8"/>
          <p:cNvSpPr/>
          <p:nvPr userDrawn="1"/>
        </p:nvSpPr>
        <p:spPr bwMode="auto">
          <a:xfrm>
            <a:off x="11676697" y="5463273"/>
            <a:ext cx="323147" cy="323017"/>
          </a:xfrm>
          <a:prstGeom prst="ellipse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Oval 9"/>
          <p:cNvSpPr/>
          <p:nvPr userDrawn="1"/>
        </p:nvSpPr>
        <p:spPr bwMode="auto">
          <a:xfrm>
            <a:off x="11071038" y="6206510"/>
            <a:ext cx="2409262" cy="2408294"/>
          </a:xfrm>
          <a:prstGeom prst="ellipse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 bwMode="auto">
          <a:xfrm>
            <a:off x="1534015" y="1137817"/>
            <a:ext cx="1281085" cy="1280570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2742577" y="523171"/>
            <a:ext cx="523617" cy="523407"/>
          </a:xfrm>
          <a:prstGeom prst="ellipse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/>
          <p:cNvSpPr/>
          <p:nvPr userDrawn="1"/>
        </p:nvSpPr>
        <p:spPr bwMode="auto">
          <a:xfrm>
            <a:off x="12350243" y="1031674"/>
            <a:ext cx="249441" cy="249342"/>
          </a:xfrm>
          <a:prstGeom prst="ellipse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/>
          <p:cNvSpPr/>
          <p:nvPr userDrawn="1"/>
        </p:nvSpPr>
        <p:spPr bwMode="auto">
          <a:xfrm>
            <a:off x="11382882" y="1916440"/>
            <a:ext cx="892788" cy="892430"/>
          </a:xfrm>
          <a:prstGeom prst="ellipse">
            <a:avLst/>
          </a:prstGeom>
          <a:noFill/>
          <a:ln w="9525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Oval 14"/>
          <p:cNvSpPr/>
          <p:nvPr userDrawn="1"/>
        </p:nvSpPr>
        <p:spPr bwMode="auto">
          <a:xfrm>
            <a:off x="5074503" y="5517988"/>
            <a:ext cx="615664" cy="615416"/>
          </a:xfrm>
          <a:prstGeom prst="ellipse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Oval 15"/>
          <p:cNvSpPr/>
          <p:nvPr userDrawn="1"/>
        </p:nvSpPr>
        <p:spPr bwMode="auto">
          <a:xfrm>
            <a:off x="5743810" y="4775079"/>
            <a:ext cx="1051037" cy="1050615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3453992"/>
      </p:ext>
    </p:extLst>
  </p:cSld>
  <p:clrMapOvr>
    <a:masterClrMapping/>
  </p:clrMapOvr>
  <p:transition spd="slow">
    <p:push dir="u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_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9660" y="3111164"/>
            <a:ext cx="11375537" cy="772203"/>
          </a:xfrm>
        </p:spPr>
        <p:txBody>
          <a:bodyPr anchor="ctr" anchorCtr="0"/>
          <a:lstStyle>
            <a:lvl1pPr>
              <a:defRPr sz="5610" spc="0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094951"/>
      </p:ext>
    </p:extLst>
  </p:cSld>
  <p:clrMapOvr>
    <a:masterClrMapping/>
  </p:clrMapOvr>
  <p:transition spd="slow">
    <p:push dir="u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Video etc. &quot;special&quot; slide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ardrop 7"/>
          <p:cNvSpPr/>
          <p:nvPr userDrawn="1"/>
        </p:nvSpPr>
        <p:spPr bwMode="auto">
          <a:xfrm>
            <a:off x="10048069" y="-163736"/>
            <a:ext cx="1865957" cy="1865207"/>
          </a:xfrm>
          <a:prstGeom prst="teardrop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ardrop 8"/>
          <p:cNvSpPr/>
          <p:nvPr userDrawn="1"/>
        </p:nvSpPr>
        <p:spPr bwMode="auto">
          <a:xfrm>
            <a:off x="9450713" y="1324431"/>
            <a:ext cx="1194707" cy="1194226"/>
          </a:xfrm>
          <a:prstGeom prst="teardrop">
            <a:avLst/>
          </a:prstGeom>
          <a:noFill/>
          <a:ln w="57150">
            <a:solidFill>
              <a:schemeClr val="tx1">
                <a:alpha val="2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eardrop 9"/>
          <p:cNvSpPr/>
          <p:nvPr userDrawn="1"/>
        </p:nvSpPr>
        <p:spPr bwMode="auto">
          <a:xfrm>
            <a:off x="9450716" y="-163735"/>
            <a:ext cx="892788" cy="892430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ardrop 10"/>
          <p:cNvSpPr/>
          <p:nvPr userDrawn="1"/>
        </p:nvSpPr>
        <p:spPr bwMode="auto">
          <a:xfrm>
            <a:off x="8386101" y="1451389"/>
            <a:ext cx="678952" cy="678679"/>
          </a:xfrm>
          <a:prstGeom prst="teardrop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ardrop 11"/>
          <p:cNvSpPr/>
          <p:nvPr userDrawn="1"/>
        </p:nvSpPr>
        <p:spPr bwMode="auto">
          <a:xfrm>
            <a:off x="9450713" y="5868098"/>
            <a:ext cx="1194707" cy="1194226"/>
          </a:xfrm>
          <a:prstGeom prst="teardrop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ardrop 12"/>
          <p:cNvSpPr/>
          <p:nvPr userDrawn="1"/>
        </p:nvSpPr>
        <p:spPr bwMode="auto">
          <a:xfrm>
            <a:off x="10741724" y="5182575"/>
            <a:ext cx="789636" cy="789319"/>
          </a:xfrm>
          <a:prstGeom prst="teardrop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ardrop 13"/>
          <p:cNvSpPr/>
          <p:nvPr userDrawn="1"/>
        </p:nvSpPr>
        <p:spPr bwMode="auto">
          <a:xfrm>
            <a:off x="11444375" y="5721977"/>
            <a:ext cx="323147" cy="323017"/>
          </a:xfrm>
          <a:prstGeom prst="teardrop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ardrop 14"/>
          <p:cNvSpPr/>
          <p:nvPr userDrawn="1"/>
        </p:nvSpPr>
        <p:spPr bwMode="auto">
          <a:xfrm>
            <a:off x="10838716" y="6465214"/>
            <a:ext cx="2409262" cy="2408294"/>
          </a:xfrm>
          <a:prstGeom prst="teardrop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ardrop 15"/>
          <p:cNvSpPr/>
          <p:nvPr userDrawn="1"/>
        </p:nvSpPr>
        <p:spPr bwMode="auto">
          <a:xfrm>
            <a:off x="695802" y="450918"/>
            <a:ext cx="1281085" cy="1280570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ardrop 16"/>
          <p:cNvSpPr/>
          <p:nvPr userDrawn="1"/>
        </p:nvSpPr>
        <p:spPr bwMode="auto">
          <a:xfrm>
            <a:off x="1904367" y="-163735"/>
            <a:ext cx="523617" cy="523407"/>
          </a:xfrm>
          <a:prstGeom prst="teardrop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Teardrop 17"/>
          <p:cNvSpPr/>
          <p:nvPr userDrawn="1"/>
        </p:nvSpPr>
        <p:spPr bwMode="auto">
          <a:xfrm>
            <a:off x="11988601" y="1258991"/>
            <a:ext cx="249441" cy="249342"/>
          </a:xfrm>
          <a:prstGeom prst="teardrop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ardrop 18"/>
          <p:cNvSpPr/>
          <p:nvPr userDrawn="1"/>
        </p:nvSpPr>
        <p:spPr bwMode="auto">
          <a:xfrm>
            <a:off x="5942897" y="1956612"/>
            <a:ext cx="892788" cy="892430"/>
          </a:xfrm>
          <a:prstGeom prst="teardrop">
            <a:avLst/>
          </a:prstGeom>
          <a:noFill/>
          <a:ln w="952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Teardrop 19"/>
          <p:cNvSpPr/>
          <p:nvPr userDrawn="1"/>
        </p:nvSpPr>
        <p:spPr bwMode="auto">
          <a:xfrm>
            <a:off x="5074503" y="5517988"/>
            <a:ext cx="615664" cy="615416"/>
          </a:xfrm>
          <a:prstGeom prst="teardrop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Teardrop 20"/>
          <p:cNvSpPr/>
          <p:nvPr userDrawn="1"/>
        </p:nvSpPr>
        <p:spPr bwMode="auto">
          <a:xfrm>
            <a:off x="5743810" y="4775079"/>
            <a:ext cx="1051037" cy="1050615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92910" y="4429873"/>
            <a:ext cx="10445796" cy="470856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lang="en-US" sz="3672" kern="1200" spc="-72" baseline="0" dirty="0">
                <a:gradFill>
                  <a:gsLst>
                    <a:gs pos="2083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66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3238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6149" y="2794219"/>
            <a:ext cx="10450657" cy="1406089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spcBef>
                <a:spcPts val="0"/>
              </a:spcBef>
              <a:buFont typeface="Arial" pitchFamily="34" charset="0"/>
              <a:buNone/>
              <a:defRPr lang="en-US" sz="9791" b="0" kern="1200" cap="none" spc="-408" baseline="0" dirty="0" smtClean="0">
                <a:ln w="3175"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92101" y="1476622"/>
            <a:ext cx="10445796" cy="932293"/>
          </a:xfrm>
        </p:spPr>
        <p:txBody>
          <a:bodyPr wrap="square" anchor="ctr">
            <a:noAutofit/>
          </a:bodyPr>
          <a:lstStyle>
            <a:lvl1pPr marL="0" indent="0">
              <a:buNone/>
              <a:defRPr sz="6833" spc="-154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578876"/>
      </p:ext>
    </p:extLst>
  </p:cSld>
  <p:clrMapOvr>
    <a:masterClrMapping/>
  </p:clrMapOvr>
  <p:transition spd="slow">
    <p:push dir="u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0" y="233152"/>
            <a:ext cx="11375537" cy="77220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0" y="1476628"/>
            <a:ext cx="11375537" cy="5284754"/>
          </a:xfrm>
          <a:prstGeom prst="rect">
            <a:avLst/>
          </a:prstGeom>
        </p:spPr>
        <p:txBody>
          <a:bodyPr/>
          <a:lstStyle>
            <a:lvl1pPr marL="289765" indent="-289765">
              <a:buFont typeface="Wingdings" pitchFamily="2" charset="2"/>
              <a:buChar char=""/>
              <a:defRPr sz="4080">
                <a:latin typeface="+mn-lt"/>
              </a:defRPr>
            </a:lvl1pPr>
            <a:lvl2pPr marL="527727" indent="-237963">
              <a:buFont typeface="Wingdings" pitchFamily="2" charset="2"/>
              <a:buChar char=""/>
              <a:defRPr>
                <a:latin typeface="+mn-lt"/>
              </a:defRPr>
            </a:lvl2pPr>
            <a:lvl3pPr marL="755978" indent="-228250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32425" indent="-176447">
              <a:buFont typeface="Wingdings" pitchFamily="2" charset="2"/>
              <a:buChar char=""/>
              <a:defRPr>
                <a:latin typeface="+mn-lt"/>
              </a:defRPr>
            </a:lvl4pPr>
            <a:lvl5pPr marL="1108873" indent="-176447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6748563"/>
      </p:ext>
    </p:extLst>
  </p:cSld>
  <p:clrMapOvr>
    <a:masterClrMapping/>
  </p:clrMapOvr>
  <p:transition spd="slow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0" y="1476628"/>
            <a:ext cx="11375537" cy="52847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8"/>
              </a:spcBef>
              <a:buNone/>
              <a:defRPr sz="408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6342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209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415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64010"/>
      </p:ext>
    </p:extLst>
  </p:cSld>
  <p:clrMapOvr>
    <a:masterClrMapping/>
  </p:clrMapOvr>
  <p:transition spd="slow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0" y="1476628"/>
            <a:ext cx="11375537" cy="52847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8"/>
              </a:spcBef>
              <a:buNone/>
              <a:defRPr sz="408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6342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209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415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9500711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1280" y="1476622"/>
            <a:ext cx="5504574" cy="5284752"/>
          </a:xfrm>
        </p:spPr>
        <p:txBody>
          <a:bodyPr>
            <a:noAutofit/>
          </a:bodyPr>
          <a:lstStyle>
            <a:lvl1pPr marL="297859" indent="-297859">
              <a:spcBef>
                <a:spcPts val="1224"/>
              </a:spcBef>
              <a:buClr>
                <a:schemeClr val="tx1"/>
              </a:buClr>
              <a:buFont typeface="Wingdings" pitchFamily="2" charset="2"/>
              <a:buChar char=""/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1pPr>
            <a:lvl2pPr marL="530966" indent="-233107">
              <a:defRPr sz="2040">
                <a:solidFill>
                  <a:schemeClr val="bg1">
                    <a:lumMod val="75000"/>
                    <a:lumOff val="25000"/>
                  </a:schemeClr>
                </a:solidFill>
              </a:defRPr>
            </a:lvl2pPr>
            <a:lvl3pPr marL="699322" indent="-168356">
              <a:tabLst/>
              <a:defRPr sz="2040">
                <a:solidFill>
                  <a:schemeClr val="bg1">
                    <a:lumMod val="75000"/>
                    <a:lumOff val="25000"/>
                  </a:schemeClr>
                </a:solidFill>
              </a:defRPr>
            </a:lvl3pPr>
            <a:lvl4pPr marL="880624" indent="-181305"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4pPr>
            <a:lvl5pPr marL="1048979" indent="-168356">
              <a:tabLst/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405481" y="1476622"/>
            <a:ext cx="5504574" cy="5284752"/>
          </a:xfrm>
        </p:spPr>
        <p:txBody>
          <a:bodyPr>
            <a:noAutofit/>
          </a:bodyPr>
          <a:lstStyle>
            <a:lvl1pPr marL="346422" indent="-346422">
              <a:spcBef>
                <a:spcPts val="1224"/>
              </a:spcBef>
              <a:buFont typeface="Wingdings" pitchFamily="2" charset="2"/>
              <a:buChar char=""/>
              <a:defRPr lang="en-US" sz="3672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47518" indent="-349660">
              <a:defRPr lang="en-US" sz="2040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80624" indent="-349660">
              <a:defRPr lang="en-US" sz="2040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48979" indent="-349660">
              <a:defRPr lang="en-US" sz="2040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30285" indent="-349660">
              <a:defRPr lang="en-US" sz="2040" kern="1200" spc="0" baseline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297859" marR="0" lvl="0" indent="-297859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297859" marR="0" lvl="1" indent="-297859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297859" marR="0" lvl="2" indent="-297859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297859" marR="0" lvl="3" indent="-297859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297859" marR="0" lvl="4" indent="-297859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6553600"/>
      </p:ext>
    </p:extLst>
  </p:cSld>
  <p:clrMapOvr>
    <a:masterClrMapping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1280" y="1476622"/>
            <a:ext cx="5504574" cy="528475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sz="408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7963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209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415" indent="0">
              <a:buNone/>
              <a:defRPr sz="204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405481" y="1476622"/>
            <a:ext cx="5504574" cy="528475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lang="en-US" sz="4080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238" marR="0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37963" marR="0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69446" marR="0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00941" marR="0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2" baseline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marL="0" marR="0" lvl="1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econd level</a:t>
            </a:r>
          </a:p>
          <a:p>
            <a:pPr marL="0" marR="0" lvl="2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Third level</a:t>
            </a:r>
          </a:p>
          <a:p>
            <a:pPr marL="0" marR="0" lvl="3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Fourth level</a:t>
            </a:r>
          </a:p>
          <a:p>
            <a:pPr marL="0" marR="0" lvl="4" indent="0" algn="l" defTabSz="932388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7185771"/>
      </p:ext>
    </p:extLst>
  </p:cSld>
  <p:clrMapOvr>
    <a:masterClrMapping/>
  </p:clrMapOvr>
  <p:transition spd="slow">
    <p:push dir="u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057875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800855"/>
      </p:ext>
    </p:extLst>
  </p:cSld>
  <p:clrMapOvr>
    <a:masterClrMapping/>
  </p:clrMapOvr>
  <p:transition spd="slow">
    <p:push dir="u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52850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852850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6458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686458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022387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022387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158491"/>
      </p:ext>
    </p:extLst>
  </p:cSld>
  <p:clrMapOvr>
    <a:masterClrMapping/>
  </p:clrMapOvr>
  <p:transition spd="slow">
    <p:push dir="u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66101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66101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3435639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435639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266101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66101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3435639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435639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2632371"/>
      </p:ext>
    </p:extLst>
  </p:cSld>
  <p:clrMapOvr>
    <a:masterClrMapping/>
  </p:clrMapOvr>
  <p:transition spd="slow">
    <p:push dir="u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52850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852850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6458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686458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022387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022387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52850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52850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86458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7686458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2022387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8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8" smtClean="0">
                <a:solidFill>
                  <a:schemeClr val="lt1"/>
                </a:solidFill>
              </a:defRPr>
            </a:lvl2pPr>
            <a:lvl3pPr>
              <a:defRPr lang="en-US" sz="1938" smtClean="0">
                <a:solidFill>
                  <a:schemeClr val="lt1"/>
                </a:solidFill>
              </a:defRPr>
            </a:lvl3pPr>
            <a:lvl4pPr>
              <a:defRPr lang="en-US" sz="1938" smtClean="0">
                <a:solidFill>
                  <a:schemeClr val="lt1"/>
                </a:solidFill>
              </a:defRPr>
            </a:lvl4pPr>
            <a:lvl5pPr>
              <a:defRPr lang="en-US" sz="1938">
                <a:solidFill>
                  <a:schemeClr val="lt1"/>
                </a:solidFill>
              </a:defRPr>
            </a:lvl5pPr>
          </a:lstStyle>
          <a:p>
            <a:pPr marL="0" lvl="0" defTabSz="932119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2022387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3584657"/>
      </p:ext>
    </p:extLst>
  </p:cSld>
  <p:clrMapOvr>
    <a:masterClrMapping/>
  </p:clrMapOvr>
  <p:transition spd="slow">
    <p:push dir="u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7404235"/>
      </p:ext>
    </p:extLst>
  </p:cSld>
  <p:clrMapOvr>
    <a:masterClrMapping/>
  </p:clrMapOvr>
  <p:transition spd="slow">
    <p:push dir="u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hidden">
          <a:xfrm flipV="1">
            <a:off x="0" y="2"/>
            <a:ext cx="12436475" cy="117895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1" tIns="46621" rIns="46621" bIns="4662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9" fontAlgn="base">
              <a:spcBef>
                <a:spcPct val="0"/>
              </a:spcBef>
              <a:spcAft>
                <a:spcPct val="0"/>
              </a:spcAft>
            </a:pPr>
            <a:endParaRPr lang="en-US" sz="1938" dirty="0" err="1">
              <a:solidFill>
                <a:srgbClr val="FFFFFF"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8850" y="1476622"/>
            <a:ext cx="11378776" cy="5284752"/>
          </a:xfrm>
        </p:spPr>
        <p:txBody>
          <a:bodyPr>
            <a:normAutofit/>
          </a:bodyPr>
          <a:lstStyle>
            <a:lvl1pPr marL="0" indent="0">
              <a:buNone/>
              <a:defRPr sz="326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1pPr>
            <a:lvl2pPr marL="34642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2pPr>
            <a:lvl3pPr marL="58438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3pPr>
            <a:lvl4pPr marL="81425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4pPr>
            <a:lvl5pPr marL="105059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3028981"/>
      </p:ext>
    </p:extLst>
  </p:cSld>
  <p:clrMapOvr>
    <a:masterClrMapping/>
  </p:clrMapOvr>
  <p:transition spd="slow">
    <p:push dir="u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- Prints in GRAYSCAL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823204"/>
      </p:ext>
    </p:extLst>
  </p:cSld>
  <p:clrMapOvr>
    <a:masterClrMapping/>
  </p:clrMapOvr>
  <p:transition spd="slow">
    <p:push dir="u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31280" y="233151"/>
            <a:ext cx="11378776" cy="678032"/>
          </a:xfrm>
        </p:spPr>
        <p:txBody>
          <a:bodyPr/>
          <a:lstStyle>
            <a:lvl1pPr>
              <a:defRPr sz="4896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29660" y="1476622"/>
            <a:ext cx="11375537" cy="2084319"/>
          </a:xfrm>
          <a:prstGeom prst="rect">
            <a:avLst/>
          </a:prstGeom>
        </p:spPr>
        <p:txBody>
          <a:bodyPr/>
          <a:lstStyle>
            <a:lvl1pPr marL="349660" indent="-349660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41042" indent="-291383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32425" indent="-291383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65529" indent="-233107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98637" indent="-233107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1"/>
          </a:xfrm>
          <a:prstGeom prst="rect">
            <a:avLst/>
          </a:prstGeom>
          <a:solidFill>
            <a:srgbClr val="FFFF99"/>
          </a:solidFill>
        </p:spPr>
        <p:txBody>
          <a:bodyPr wrap="square" lIns="152361" tIns="76177" rIns="152361" bIns="76177" anchor="b" anchorCtr="0">
            <a:noAutofit/>
          </a:bodyPr>
          <a:lstStyle>
            <a:lvl1pPr algn="r">
              <a:buFont typeface="Arial" pitchFamily="34" charset="0"/>
              <a:buNone/>
              <a:defRPr sz="3672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473964134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2" y="1654674"/>
            <a:ext cx="8029121" cy="1553826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610">
                <a:gradFill flip="none" rotWithShape="1"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2" y="4429876"/>
            <a:ext cx="6979520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accent1"/>
                    </a:gs>
                    <a:gs pos="86000">
                      <a:schemeClr val="accent1"/>
                    </a:gs>
                  </a:gsLst>
                  <a:lin ang="5400000" scaled="0"/>
                </a:gradFill>
              </a:defRPr>
            </a:lvl1pPr>
            <a:lvl2pPr marL="466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" y="6698080"/>
            <a:ext cx="1714360" cy="266829"/>
          </a:xfrm>
          <a:prstGeom prst="rect">
            <a:avLst/>
          </a:prstGeom>
        </p:spPr>
        <p:txBody>
          <a:bodyPr wrap="none" lIns="93240" tIns="46621" rIns="93240" bIns="46621">
            <a:spAutoFit/>
          </a:bodyPr>
          <a:lstStyle/>
          <a:p>
            <a:pPr defTabSz="932388"/>
            <a:r>
              <a:rPr lang="en-US" sz="1122" dirty="0">
                <a:gradFill>
                  <a:gsLst>
                    <a:gs pos="0">
                      <a:srgbClr val="00BCF2"/>
                    </a:gs>
                    <a:gs pos="86000">
                      <a:srgbClr val="00BCF2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89673" y="194303"/>
            <a:ext cx="2599706" cy="282513"/>
          </a:xfrm>
        </p:spPr>
        <p:txBody>
          <a:bodyPr/>
          <a:lstStyle>
            <a:lvl1pPr marL="0" indent="0">
              <a:buNone/>
              <a:defRPr sz="2040" baseline="0">
                <a:gradFill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3069509762"/>
      </p:ext>
    </p:extLst>
  </p:cSld>
  <p:clrMapOvr>
    <a:masterClrMapping/>
  </p:clrMapOvr>
  <p:transition spd="slow">
    <p:push dir="u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, Video etc.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7" y="3071962"/>
            <a:ext cx="7955075" cy="1553823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4896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3" y="4882621"/>
            <a:ext cx="7184998" cy="470856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defRPr>
            </a:lvl1pPr>
            <a:lvl2pPr marL="466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89681" y="860916"/>
            <a:ext cx="8780689" cy="1406089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199" b="0" i="0" u="none" strike="noStrike" kern="1200" cap="none" spc="-306" normalizeH="0" baseline="0" noProof="0" dirty="0" smtClean="0">
                <a:ln w="11430"/>
                <a:gradFill>
                  <a:gsLst>
                    <a:gs pos="0">
                      <a:schemeClr val="tx1"/>
                    </a:gs>
                    <a:gs pos="88000">
                      <a:schemeClr val="tx1"/>
                    </a:gs>
                  </a:gsLst>
                  <a:lin ang="5400000"/>
                </a:gra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" y="6698080"/>
            <a:ext cx="1714360" cy="266829"/>
          </a:xfrm>
          <a:prstGeom prst="rect">
            <a:avLst/>
          </a:prstGeom>
        </p:spPr>
        <p:txBody>
          <a:bodyPr wrap="none" lIns="93240" tIns="46621" rIns="93240" bIns="46621">
            <a:spAutoFit/>
          </a:bodyPr>
          <a:lstStyle/>
          <a:p>
            <a:pPr defTabSz="932388"/>
            <a:r>
              <a:rPr lang="en-US" sz="1122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</p:spTree>
    <p:extLst>
      <p:ext uri="{BB962C8B-B14F-4D97-AF65-F5344CB8AC3E}">
        <p14:creationId xmlns:p14="http://schemas.microsoft.com/office/powerpoint/2010/main" val="984057432"/>
      </p:ext>
    </p:extLst>
  </p:cSld>
  <p:clrMapOvr>
    <a:masterClrMapping/>
  </p:clrMapOvr>
  <p:transition spd="slow">
    <p:push dir="u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614" y="5756480"/>
            <a:ext cx="9769232" cy="37563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40" b="1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66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26614" y="6088936"/>
            <a:ext cx="9769232" cy="636104"/>
          </a:xfrm>
          <a:prstGeom prst="rect">
            <a:avLst/>
          </a:prstGeom>
        </p:spPr>
        <p:txBody>
          <a:bodyPr vert="horz" lIns="0">
            <a:normAutofit/>
          </a:bodyPr>
          <a:lstStyle>
            <a:lvl1pPr>
              <a:lnSpc>
                <a:spcPct val="70000"/>
              </a:lnSpc>
              <a:buFontTx/>
              <a:buNone/>
              <a:defRPr kumimoji="0" lang="en-US" sz="1632" b="0" i="0" u="none" strike="noStrike" kern="1200" cap="none" spc="-72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marR="0" lvl="0" indent="0" algn="l" defTabSz="932425" rtl="0" eaLnBrk="1" fontAlgn="auto" latinLnBrk="0" hangingPunct="1">
              <a:lnSpc>
                <a:spcPts val="2448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None/>
              <a:tabLst/>
              <a:defRPr/>
            </a:pPr>
            <a:r>
              <a:rPr lang="en-US" dirty="0"/>
              <a:t>Click to edit presenter </a:t>
            </a:r>
          </a:p>
          <a:p>
            <a:pPr marL="0" marR="0" lvl="0" indent="0" algn="l" defTabSz="932425" rtl="0" eaLnBrk="1" fontAlgn="auto" latinLnBrk="0" hangingPunct="1">
              <a:lnSpc>
                <a:spcPts val="2448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None/>
              <a:tabLst/>
              <a:defRPr/>
            </a:pPr>
            <a:r>
              <a:rPr lang="en-US" dirty="0"/>
              <a:t>and dat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60"/>
            <a:ext cx="12436475" cy="6977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197234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776042"/>
      </p:ext>
    </p:extLst>
  </p:cSld>
  <p:clrMapOvr>
    <a:masterClrMapping/>
  </p:clrMapOvr>
  <p:transition spd="slow">
    <p:push dir="u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2" y="1654674"/>
            <a:ext cx="8029121" cy="1553826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610">
                <a:gradFill flip="none" rotWithShape="1"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2" y="4429876"/>
            <a:ext cx="6979520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accent1"/>
                    </a:gs>
                    <a:gs pos="86000">
                      <a:schemeClr val="accent1"/>
                    </a:gs>
                  </a:gsLst>
                  <a:lin ang="5400000" scaled="0"/>
                </a:gradFill>
              </a:defRPr>
            </a:lvl1pPr>
            <a:lvl2pPr marL="466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" y="6698080"/>
            <a:ext cx="1714360" cy="266829"/>
          </a:xfrm>
          <a:prstGeom prst="rect">
            <a:avLst/>
          </a:prstGeom>
        </p:spPr>
        <p:txBody>
          <a:bodyPr wrap="none" lIns="93240" tIns="46621" rIns="93240" bIns="46621">
            <a:spAutoFit/>
          </a:bodyPr>
          <a:lstStyle/>
          <a:p>
            <a:pPr defTabSz="932388"/>
            <a:r>
              <a:rPr lang="en-US" sz="1122" dirty="0">
                <a:gradFill>
                  <a:gsLst>
                    <a:gs pos="0">
                      <a:srgbClr val="65BC46"/>
                    </a:gs>
                    <a:gs pos="86000">
                      <a:srgbClr val="65BC46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89673" y="194303"/>
            <a:ext cx="2599706" cy="282513"/>
          </a:xfrm>
        </p:spPr>
        <p:txBody>
          <a:bodyPr/>
          <a:lstStyle>
            <a:lvl1pPr marL="0" indent="0">
              <a:buNone/>
              <a:defRPr sz="2040" baseline="0">
                <a:gradFill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3827529007"/>
      </p:ext>
    </p:extLst>
  </p:cSld>
  <p:clrMapOvr>
    <a:masterClrMapping/>
  </p:clrMapOvr>
  <p:transition spd="slow">
    <p:push dir="u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29663" y="1942932"/>
            <a:ext cx="11375535" cy="1616604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3173770"/>
      </p:ext>
    </p:extLst>
  </p:cSld>
  <p:clrMapOvr>
    <a:masterClrMapping/>
  </p:clrMapOvr>
  <p:transition spd="slow">
    <p:push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83" y="2776820"/>
            <a:ext cx="10450655" cy="1553826"/>
          </a:xfr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8159" spc="-408" baseline="0">
                <a:solidFill>
                  <a:schemeClr val="bg1">
                    <a:alpha val="99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1352" y="5790427"/>
            <a:ext cx="10450657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754" b="1" cap="all" baseline="0">
                <a:solidFill>
                  <a:schemeClr val="bg1">
                    <a:alpha val="99000"/>
                  </a:schemeClr>
                </a:solidFill>
              </a:defRPr>
            </a:lvl1pPr>
            <a:lvl2pPr marL="62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42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6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0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728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50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71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71362" y="6243276"/>
            <a:ext cx="5443995" cy="301347"/>
          </a:xfrm>
        </p:spPr>
        <p:txBody>
          <a:bodyPr/>
          <a:lstStyle>
            <a:lvl1pPr marL="0" indent="0">
              <a:buNone/>
              <a:defRPr sz="2142" baseline="0">
                <a:solidFill>
                  <a:schemeClr val="bg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presenter and dat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30215" y="378530"/>
            <a:ext cx="1335077" cy="28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260526"/>
      </p:ext>
    </p:extLst>
  </p:cSld>
  <p:clrMapOvr>
    <a:masterClrMapping/>
  </p:clrMapOvr>
  <p:transition spd="slow">
    <p:push dir="u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29660" y="1476622"/>
            <a:ext cx="11375537" cy="2003405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45384"/>
      </p:ext>
    </p:extLst>
  </p:cSld>
  <p:clrMapOvr>
    <a:masterClrMapping/>
  </p:clrMapOvr>
  <p:transition spd="slow">
    <p:push dir="u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518" y="233152"/>
            <a:ext cx="11375537" cy="77220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473" y="1718017"/>
            <a:ext cx="11375537" cy="2012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0217" y="378530"/>
            <a:ext cx="1335074" cy="280809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13903" y="6199219"/>
            <a:ext cx="5785229" cy="197759"/>
          </a:xfrm>
        </p:spPr>
        <p:txBody>
          <a:bodyPr/>
          <a:lstStyle>
            <a:lvl1pPr marL="0" indent="0">
              <a:buNone/>
              <a:defRPr sz="153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1896933"/>
      </p:ext>
    </p:extLst>
  </p:cSld>
  <p:clrMapOvr>
    <a:masterClrMapping/>
  </p:clrMapOvr>
  <p:transition spd="slow">
    <p:push dir="u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80" y="2776816"/>
            <a:ext cx="10450655" cy="1553826"/>
          </a:xfr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6120" spc="-306" baseline="0">
                <a:solidFill>
                  <a:schemeClr val="bg1">
                    <a:alpha val="99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1352" y="5790423"/>
            <a:ext cx="10450657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40" b="1" cap="all" baseline="0">
                <a:solidFill>
                  <a:schemeClr val="bg1">
                    <a:alpha val="99000"/>
                  </a:schemeClr>
                </a:solidFill>
              </a:defRPr>
            </a:lvl1pPr>
            <a:lvl2pPr marL="466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71358" y="6243270"/>
            <a:ext cx="5443995" cy="226010"/>
          </a:xfrm>
        </p:spPr>
        <p:txBody>
          <a:bodyPr/>
          <a:lstStyle>
            <a:lvl1pPr marL="0" indent="0">
              <a:buNone/>
              <a:defRPr sz="1632" baseline="0">
                <a:solidFill>
                  <a:schemeClr val="bg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presenter and dat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530215" y="378530"/>
            <a:ext cx="1335077" cy="28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758361"/>
      </p:ext>
    </p:extLst>
  </p:cSld>
  <p:clrMapOvr>
    <a:masterClrMapping/>
  </p:clrMapOvr>
  <p:transition spd="slow">
    <p:push dir="u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Blue 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6231030"/>
      </p:ext>
    </p:extLst>
  </p:cSld>
  <p:clrMapOvr>
    <a:masterClrMapping/>
  </p:clrMapOvr>
  <p:transition spd="slow">
    <p:push dir="u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blipFill dpi="0" rotWithShape="1">
          <a:blip r:embed="rId2">
            <a:lum/>
          </a:blip>
          <a:srcRect/>
          <a:stretch>
            <a:fillRect t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0" y="233152"/>
            <a:ext cx="11375537" cy="77220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29663" y="1476625"/>
            <a:ext cx="11375535" cy="2040374"/>
          </a:xfrm>
        </p:spPr>
        <p:txBody>
          <a:bodyPr>
            <a:spAutoFit/>
          </a:bodyPr>
          <a:lstStyle>
            <a:lvl1pPr marL="469446" indent="-469446">
              <a:buFont typeface="Arial" pitchFamily="34" charset="0"/>
              <a:buChar char="•"/>
              <a:defRPr/>
            </a:lvl1pPr>
            <a:lvl2pPr marL="872531" indent="-403083">
              <a:buFont typeface="Arial" pitchFamily="34" charset="0"/>
              <a:buChar char="•"/>
              <a:defRPr/>
            </a:lvl2pPr>
            <a:lvl3pPr marL="1283706" indent="-411175">
              <a:buFont typeface="Arial" pitchFamily="34" charset="0"/>
              <a:buChar char="•"/>
              <a:defRPr/>
            </a:lvl3pPr>
            <a:lvl4pPr marL="1636596" indent="-352897">
              <a:buFont typeface="Arial" pitchFamily="34" charset="0"/>
              <a:buChar char="•"/>
              <a:defRPr/>
            </a:lvl4pPr>
            <a:lvl5pPr marL="1979787" indent="-343184"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" y="6698080"/>
            <a:ext cx="1714360" cy="266829"/>
          </a:xfrm>
          <a:prstGeom prst="rect">
            <a:avLst/>
          </a:prstGeom>
        </p:spPr>
        <p:txBody>
          <a:bodyPr wrap="none" lIns="93240" tIns="46621" rIns="93240" bIns="46621">
            <a:spAutoFit/>
          </a:bodyPr>
          <a:lstStyle/>
          <a:p>
            <a:pPr defTabSz="932388"/>
            <a:r>
              <a:rPr lang="en-US" sz="1122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</p:spTree>
    <p:extLst>
      <p:ext uri="{BB962C8B-B14F-4D97-AF65-F5344CB8AC3E}">
        <p14:creationId xmlns:p14="http://schemas.microsoft.com/office/powerpoint/2010/main" val="2737833429"/>
      </p:ext>
    </p:extLst>
  </p:cSld>
  <p:clrMapOvr>
    <a:masterClrMapping/>
  </p:clrMapOvr>
  <p:transition spd="slow">
    <p:push dir="u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98579" y="2226886"/>
            <a:ext cx="10445796" cy="941710"/>
          </a:xfrm>
        </p:spPr>
        <p:txBody>
          <a:bodyPr anchor="b" anchorCtr="0"/>
          <a:lstStyle>
            <a:lvl1pPr>
              <a:defRPr sz="6831" spc="-154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98579" y="3494028"/>
            <a:ext cx="10445796" cy="50852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pc="-72" baseline="0">
                <a:solidFill>
                  <a:schemeClr val="tx2">
                    <a:lumMod val="40000"/>
                    <a:lumOff val="60000"/>
                    <a:alpha val="99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  <p:sp>
        <p:nvSpPr>
          <p:cNvPr id="452" name="Rectangle 451"/>
          <p:cNvSpPr/>
          <p:nvPr userDrawn="1"/>
        </p:nvSpPr>
        <p:spPr bwMode="auto">
          <a:xfrm>
            <a:off x="10048068" y="-163736"/>
            <a:ext cx="1865957" cy="1865207"/>
          </a:xfrm>
          <a:prstGeom prst="rect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3" name="Rectangle 452"/>
          <p:cNvSpPr/>
          <p:nvPr userDrawn="1"/>
        </p:nvSpPr>
        <p:spPr bwMode="auto">
          <a:xfrm>
            <a:off x="9450715" y="1324430"/>
            <a:ext cx="1194706" cy="1194226"/>
          </a:xfrm>
          <a:prstGeom prst="rect">
            <a:avLst/>
          </a:prstGeom>
          <a:noFill/>
          <a:ln w="57150">
            <a:solidFill>
              <a:schemeClr val="tx1">
                <a:alpha val="2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4" name="Rectangle 453"/>
          <p:cNvSpPr/>
          <p:nvPr userDrawn="1"/>
        </p:nvSpPr>
        <p:spPr bwMode="auto">
          <a:xfrm>
            <a:off x="9450718" y="-163734"/>
            <a:ext cx="892787" cy="892430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5" name="Rectangle 454"/>
          <p:cNvSpPr/>
          <p:nvPr userDrawn="1"/>
        </p:nvSpPr>
        <p:spPr bwMode="auto">
          <a:xfrm>
            <a:off x="8386102" y="1451389"/>
            <a:ext cx="678952" cy="678679"/>
          </a:xfrm>
          <a:prstGeom prst="rect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6" name="Rectangle 455"/>
          <p:cNvSpPr/>
          <p:nvPr userDrawn="1"/>
        </p:nvSpPr>
        <p:spPr bwMode="auto">
          <a:xfrm>
            <a:off x="9450715" y="5868097"/>
            <a:ext cx="1194706" cy="1194226"/>
          </a:xfrm>
          <a:prstGeom prst="rect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7" name="Rectangle 456"/>
          <p:cNvSpPr/>
          <p:nvPr userDrawn="1"/>
        </p:nvSpPr>
        <p:spPr bwMode="auto">
          <a:xfrm>
            <a:off x="10741724" y="5182575"/>
            <a:ext cx="789637" cy="789319"/>
          </a:xfrm>
          <a:prstGeom prst="rect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8" name="Rectangle 457"/>
          <p:cNvSpPr/>
          <p:nvPr userDrawn="1"/>
        </p:nvSpPr>
        <p:spPr bwMode="auto">
          <a:xfrm>
            <a:off x="11444376" y="5721977"/>
            <a:ext cx="323146" cy="323017"/>
          </a:xfrm>
          <a:prstGeom prst="rect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9" name="Rectangle 458"/>
          <p:cNvSpPr/>
          <p:nvPr userDrawn="1"/>
        </p:nvSpPr>
        <p:spPr bwMode="auto">
          <a:xfrm>
            <a:off x="10838716" y="6465216"/>
            <a:ext cx="2409262" cy="2408294"/>
          </a:xfrm>
          <a:prstGeom prst="rect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0" name="Rectangle 459"/>
          <p:cNvSpPr/>
          <p:nvPr userDrawn="1"/>
        </p:nvSpPr>
        <p:spPr bwMode="auto">
          <a:xfrm>
            <a:off x="695805" y="450920"/>
            <a:ext cx="1281084" cy="1280570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1" name="Rectangle 460"/>
          <p:cNvSpPr/>
          <p:nvPr userDrawn="1"/>
        </p:nvSpPr>
        <p:spPr bwMode="auto">
          <a:xfrm>
            <a:off x="1904367" y="-163735"/>
            <a:ext cx="523617" cy="523407"/>
          </a:xfrm>
          <a:prstGeom prst="rect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2" name="Rectangle 461"/>
          <p:cNvSpPr/>
          <p:nvPr userDrawn="1"/>
        </p:nvSpPr>
        <p:spPr bwMode="auto">
          <a:xfrm>
            <a:off x="11988600" y="1258995"/>
            <a:ext cx="249441" cy="249342"/>
          </a:xfrm>
          <a:prstGeom prst="rect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3" name="Rectangle 462"/>
          <p:cNvSpPr/>
          <p:nvPr userDrawn="1"/>
        </p:nvSpPr>
        <p:spPr bwMode="auto">
          <a:xfrm>
            <a:off x="5942900" y="1956615"/>
            <a:ext cx="892787" cy="892430"/>
          </a:xfrm>
          <a:prstGeom prst="rect">
            <a:avLst/>
          </a:prstGeom>
          <a:noFill/>
          <a:ln w="952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4" name="Rectangle 463"/>
          <p:cNvSpPr/>
          <p:nvPr userDrawn="1"/>
        </p:nvSpPr>
        <p:spPr bwMode="auto">
          <a:xfrm>
            <a:off x="5074504" y="5517988"/>
            <a:ext cx="615664" cy="615416"/>
          </a:xfrm>
          <a:prstGeom prst="rect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5" name="Rectangle 464"/>
          <p:cNvSpPr/>
          <p:nvPr userDrawn="1"/>
        </p:nvSpPr>
        <p:spPr bwMode="auto">
          <a:xfrm>
            <a:off x="5743810" y="4775079"/>
            <a:ext cx="1051037" cy="1050615"/>
          </a:xfrm>
          <a:prstGeom prst="rect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000840"/>
      </p:ext>
    </p:extLst>
  </p:cSld>
  <p:clrMapOvr>
    <a:masterClrMapping/>
  </p:clrMapOvr>
  <p:transition spd="slow">
    <p:push dir="u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9663" y="3026418"/>
            <a:ext cx="11375536" cy="941710"/>
          </a:xfrm>
        </p:spPr>
        <p:txBody>
          <a:bodyPr anchor="ctr" anchorCtr="0"/>
          <a:lstStyle>
            <a:lvl1pPr>
              <a:defRPr sz="6831" spc="-306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Oval 2"/>
          <p:cNvSpPr/>
          <p:nvPr userDrawn="1"/>
        </p:nvSpPr>
        <p:spPr bwMode="auto">
          <a:xfrm>
            <a:off x="10409715" y="-391056"/>
            <a:ext cx="1865957" cy="1865207"/>
          </a:xfrm>
          <a:prstGeom prst="ellipse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Oval 3"/>
          <p:cNvSpPr/>
          <p:nvPr userDrawn="1"/>
        </p:nvSpPr>
        <p:spPr bwMode="auto">
          <a:xfrm>
            <a:off x="9812359" y="1097109"/>
            <a:ext cx="1194706" cy="1194226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Oval 4"/>
          <p:cNvSpPr/>
          <p:nvPr userDrawn="1"/>
        </p:nvSpPr>
        <p:spPr bwMode="auto">
          <a:xfrm>
            <a:off x="9812361" y="-391055"/>
            <a:ext cx="892787" cy="892430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Oval 5"/>
          <p:cNvSpPr/>
          <p:nvPr userDrawn="1"/>
        </p:nvSpPr>
        <p:spPr bwMode="auto">
          <a:xfrm>
            <a:off x="8747745" y="1224071"/>
            <a:ext cx="678952" cy="678679"/>
          </a:xfrm>
          <a:prstGeom prst="ellipse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Oval 6"/>
          <p:cNvSpPr/>
          <p:nvPr userDrawn="1"/>
        </p:nvSpPr>
        <p:spPr bwMode="auto">
          <a:xfrm>
            <a:off x="9683036" y="5609392"/>
            <a:ext cx="1194706" cy="1194226"/>
          </a:xfrm>
          <a:prstGeom prst="ellipse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Oval 7"/>
          <p:cNvSpPr/>
          <p:nvPr userDrawn="1"/>
        </p:nvSpPr>
        <p:spPr bwMode="auto">
          <a:xfrm>
            <a:off x="10974048" y="4923871"/>
            <a:ext cx="789637" cy="789319"/>
          </a:xfrm>
          <a:prstGeom prst="ellipse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Oval 8"/>
          <p:cNvSpPr/>
          <p:nvPr userDrawn="1"/>
        </p:nvSpPr>
        <p:spPr bwMode="auto">
          <a:xfrm>
            <a:off x="11676697" y="5463273"/>
            <a:ext cx="323146" cy="323017"/>
          </a:xfrm>
          <a:prstGeom prst="ellipse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Oval 9"/>
          <p:cNvSpPr/>
          <p:nvPr userDrawn="1"/>
        </p:nvSpPr>
        <p:spPr bwMode="auto">
          <a:xfrm>
            <a:off x="11071038" y="6206508"/>
            <a:ext cx="2409262" cy="2408294"/>
          </a:xfrm>
          <a:prstGeom prst="ellipse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 bwMode="auto">
          <a:xfrm>
            <a:off x="1534018" y="1137816"/>
            <a:ext cx="1281084" cy="1280570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2742576" y="523173"/>
            <a:ext cx="523617" cy="523407"/>
          </a:xfrm>
          <a:prstGeom prst="ellipse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/>
          <p:cNvSpPr/>
          <p:nvPr userDrawn="1"/>
        </p:nvSpPr>
        <p:spPr bwMode="auto">
          <a:xfrm>
            <a:off x="12350243" y="1031678"/>
            <a:ext cx="249441" cy="249342"/>
          </a:xfrm>
          <a:prstGeom prst="ellipse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Oval 13"/>
          <p:cNvSpPr/>
          <p:nvPr userDrawn="1"/>
        </p:nvSpPr>
        <p:spPr bwMode="auto">
          <a:xfrm>
            <a:off x="11382884" y="1916443"/>
            <a:ext cx="892787" cy="892430"/>
          </a:xfrm>
          <a:prstGeom prst="ellipse">
            <a:avLst/>
          </a:prstGeom>
          <a:noFill/>
          <a:ln w="9525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Oval 14"/>
          <p:cNvSpPr/>
          <p:nvPr userDrawn="1"/>
        </p:nvSpPr>
        <p:spPr bwMode="auto">
          <a:xfrm>
            <a:off x="5074504" y="5517988"/>
            <a:ext cx="615664" cy="615416"/>
          </a:xfrm>
          <a:prstGeom prst="ellipse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Oval 15"/>
          <p:cNvSpPr/>
          <p:nvPr userDrawn="1"/>
        </p:nvSpPr>
        <p:spPr bwMode="auto">
          <a:xfrm>
            <a:off x="5743810" y="4775079"/>
            <a:ext cx="1051037" cy="1050615"/>
          </a:xfrm>
          <a:prstGeom prst="ellipse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604626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710524"/>
      </p:ext>
    </p:extLst>
  </p:cSld>
  <p:clrMapOvr>
    <a:masterClrMapping/>
  </p:clrMapOvr>
  <p:transition spd="slow">
    <p:push dir="u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_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9663" y="3111165"/>
            <a:ext cx="11375536" cy="772204"/>
          </a:xfrm>
        </p:spPr>
        <p:txBody>
          <a:bodyPr anchor="ctr" anchorCtr="0"/>
          <a:lstStyle>
            <a:lvl1pPr>
              <a:defRPr sz="5607" spc="0" baseline="0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3417928"/>
      </p:ext>
    </p:extLst>
  </p:cSld>
  <p:clrMapOvr>
    <a:masterClrMapping/>
  </p:clrMapOvr>
  <p:transition spd="slow">
    <p:push dir="u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Video etc. &quot;special&quot; slide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ardrop 7"/>
          <p:cNvSpPr/>
          <p:nvPr userDrawn="1"/>
        </p:nvSpPr>
        <p:spPr bwMode="auto">
          <a:xfrm>
            <a:off x="10048068" y="-163736"/>
            <a:ext cx="1865957" cy="1865207"/>
          </a:xfrm>
          <a:prstGeom prst="teardrop">
            <a:avLst/>
          </a:prstGeom>
          <a:noFill/>
          <a:ln w="28575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ardrop 8"/>
          <p:cNvSpPr/>
          <p:nvPr userDrawn="1"/>
        </p:nvSpPr>
        <p:spPr bwMode="auto">
          <a:xfrm>
            <a:off x="9450715" y="1324430"/>
            <a:ext cx="1194706" cy="1194226"/>
          </a:xfrm>
          <a:prstGeom prst="teardrop">
            <a:avLst/>
          </a:prstGeom>
          <a:noFill/>
          <a:ln w="57150">
            <a:solidFill>
              <a:schemeClr val="tx1">
                <a:alpha val="2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eardrop 9"/>
          <p:cNvSpPr/>
          <p:nvPr userDrawn="1"/>
        </p:nvSpPr>
        <p:spPr bwMode="auto">
          <a:xfrm>
            <a:off x="9450718" y="-163734"/>
            <a:ext cx="892787" cy="892430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ardrop 10"/>
          <p:cNvSpPr/>
          <p:nvPr userDrawn="1"/>
        </p:nvSpPr>
        <p:spPr bwMode="auto">
          <a:xfrm>
            <a:off x="8386102" y="1451389"/>
            <a:ext cx="678952" cy="678679"/>
          </a:xfrm>
          <a:prstGeom prst="teardrop">
            <a:avLst/>
          </a:prstGeom>
          <a:noFill/>
          <a:ln w="2857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ardrop 11"/>
          <p:cNvSpPr/>
          <p:nvPr userDrawn="1"/>
        </p:nvSpPr>
        <p:spPr bwMode="auto">
          <a:xfrm>
            <a:off x="9450715" y="5868097"/>
            <a:ext cx="1194706" cy="1194226"/>
          </a:xfrm>
          <a:prstGeom prst="teardrop">
            <a:avLst/>
          </a:prstGeom>
          <a:noFill/>
          <a:ln w="762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ardrop 12"/>
          <p:cNvSpPr/>
          <p:nvPr userDrawn="1"/>
        </p:nvSpPr>
        <p:spPr bwMode="auto">
          <a:xfrm>
            <a:off x="10741724" y="5182575"/>
            <a:ext cx="789637" cy="789319"/>
          </a:xfrm>
          <a:prstGeom prst="teardrop">
            <a:avLst/>
          </a:prstGeom>
          <a:noFill/>
          <a:ln w="190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ardrop 13"/>
          <p:cNvSpPr/>
          <p:nvPr userDrawn="1"/>
        </p:nvSpPr>
        <p:spPr bwMode="auto">
          <a:xfrm>
            <a:off x="11444376" y="5721977"/>
            <a:ext cx="323146" cy="323017"/>
          </a:xfrm>
          <a:prstGeom prst="teardrop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ardrop 14"/>
          <p:cNvSpPr/>
          <p:nvPr userDrawn="1"/>
        </p:nvSpPr>
        <p:spPr bwMode="auto">
          <a:xfrm>
            <a:off x="10838716" y="6465216"/>
            <a:ext cx="2409262" cy="2408294"/>
          </a:xfrm>
          <a:prstGeom prst="teardrop">
            <a:avLst/>
          </a:prstGeom>
          <a:noFill/>
          <a:ln w="571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ardrop 15"/>
          <p:cNvSpPr/>
          <p:nvPr userDrawn="1"/>
        </p:nvSpPr>
        <p:spPr bwMode="auto">
          <a:xfrm>
            <a:off x="695805" y="450920"/>
            <a:ext cx="1281084" cy="1280570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ardrop 16"/>
          <p:cNvSpPr/>
          <p:nvPr userDrawn="1"/>
        </p:nvSpPr>
        <p:spPr bwMode="auto">
          <a:xfrm>
            <a:off x="1904367" y="-163735"/>
            <a:ext cx="523617" cy="523407"/>
          </a:xfrm>
          <a:prstGeom prst="teardrop">
            <a:avLst/>
          </a:prstGeom>
          <a:noFill/>
          <a:ln w="19050">
            <a:solidFill>
              <a:schemeClr val="tx1">
                <a:alpha val="2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Teardrop 17"/>
          <p:cNvSpPr/>
          <p:nvPr userDrawn="1"/>
        </p:nvSpPr>
        <p:spPr bwMode="auto">
          <a:xfrm>
            <a:off x="11988600" y="1258995"/>
            <a:ext cx="249441" cy="249342"/>
          </a:xfrm>
          <a:prstGeom prst="teardrop">
            <a:avLst/>
          </a:prstGeom>
          <a:noFill/>
          <a:ln w="19050">
            <a:solidFill>
              <a:schemeClr val="tx1">
                <a:alpha val="1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Teardrop 18"/>
          <p:cNvSpPr/>
          <p:nvPr userDrawn="1"/>
        </p:nvSpPr>
        <p:spPr bwMode="auto">
          <a:xfrm>
            <a:off x="5942900" y="1956615"/>
            <a:ext cx="892787" cy="892430"/>
          </a:xfrm>
          <a:prstGeom prst="teardrop">
            <a:avLst/>
          </a:prstGeom>
          <a:noFill/>
          <a:ln w="9525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Teardrop 19"/>
          <p:cNvSpPr/>
          <p:nvPr userDrawn="1"/>
        </p:nvSpPr>
        <p:spPr bwMode="auto">
          <a:xfrm>
            <a:off x="5074504" y="5517988"/>
            <a:ext cx="615664" cy="615416"/>
          </a:xfrm>
          <a:prstGeom prst="teardrop">
            <a:avLst/>
          </a:prstGeom>
          <a:noFill/>
          <a:ln w="3810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Teardrop 20"/>
          <p:cNvSpPr/>
          <p:nvPr userDrawn="1"/>
        </p:nvSpPr>
        <p:spPr bwMode="auto">
          <a:xfrm>
            <a:off x="5743810" y="4775079"/>
            <a:ext cx="1051037" cy="1050615"/>
          </a:xfrm>
          <a:prstGeom prst="teardrop">
            <a:avLst/>
          </a:prstGeom>
          <a:noFill/>
          <a:ln w="57150">
            <a:solidFill>
              <a:schemeClr val="tx1">
                <a:alpha val="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92912" y="4429875"/>
            <a:ext cx="10445796" cy="470856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lang="en-US" sz="3671" kern="1200" spc="-72" baseline="0" dirty="0">
                <a:gradFill>
                  <a:gsLst>
                    <a:gs pos="2083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66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3208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6151" y="2794219"/>
            <a:ext cx="10450657" cy="1406089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spcBef>
                <a:spcPts val="0"/>
              </a:spcBef>
              <a:buFont typeface="Arial" pitchFamily="34" charset="0"/>
              <a:buNone/>
              <a:defRPr lang="en-US" sz="9788" b="0" kern="1200" cap="none" spc="-408" baseline="0" dirty="0" smtClean="0">
                <a:ln w="3175"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92103" y="1476622"/>
            <a:ext cx="10445796" cy="932293"/>
          </a:xfrm>
        </p:spPr>
        <p:txBody>
          <a:bodyPr wrap="square" anchor="ctr">
            <a:noAutofit/>
          </a:bodyPr>
          <a:lstStyle>
            <a:lvl1pPr marL="0" indent="0">
              <a:buNone/>
              <a:defRPr sz="6831" spc="-154"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7972310"/>
      </p:ext>
    </p:extLst>
  </p:cSld>
  <p:clrMapOvr>
    <a:masterClrMapping/>
  </p:clrMapOvr>
  <p:transition spd="slow">
    <p:push dir="u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3" y="233155"/>
            <a:ext cx="11375536" cy="7722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3" y="1476628"/>
            <a:ext cx="11375536" cy="5284753"/>
          </a:xfrm>
          <a:prstGeom prst="rect">
            <a:avLst/>
          </a:prstGeom>
        </p:spPr>
        <p:txBody>
          <a:bodyPr/>
          <a:lstStyle>
            <a:lvl1pPr marL="289671" indent="-289671">
              <a:buFont typeface="Wingdings" pitchFamily="2" charset="2"/>
              <a:buChar char=""/>
              <a:defRPr sz="4079">
                <a:latin typeface="+mn-lt"/>
              </a:defRPr>
            </a:lvl1pPr>
            <a:lvl2pPr marL="527556" indent="-237886">
              <a:buFont typeface="Wingdings" pitchFamily="2" charset="2"/>
              <a:buChar char=""/>
              <a:defRPr>
                <a:latin typeface="+mn-lt"/>
              </a:defRPr>
            </a:lvl2pPr>
            <a:lvl3pPr marL="755733" indent="-228176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32122" indent="-176390">
              <a:buFont typeface="Wingdings" pitchFamily="2" charset="2"/>
              <a:buChar char=""/>
              <a:defRPr>
                <a:latin typeface="+mn-lt"/>
              </a:defRPr>
            </a:lvl4pPr>
            <a:lvl5pPr marL="1108514" indent="-176390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8469796"/>
      </p:ext>
    </p:extLst>
  </p:cSld>
  <p:clrMapOvr>
    <a:masterClrMapping/>
  </p:clrMapOvr>
  <p:transition spd="slow">
    <p:push dir="u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3" y="1476628"/>
            <a:ext cx="11375536" cy="528475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7"/>
              </a:spcBef>
              <a:buNone/>
              <a:defRPr sz="407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6265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058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185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8708505"/>
      </p:ext>
    </p:extLst>
  </p:cSld>
  <p:clrMapOvr>
    <a:masterClrMapping/>
  </p:clrMapOvr>
  <p:transition spd="slow">
    <p:push dir="u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3" y="1476628"/>
            <a:ext cx="11375536" cy="528475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7"/>
              </a:spcBef>
              <a:buNone/>
              <a:defRPr sz="407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6265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058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185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4928047"/>
      </p:ext>
    </p:extLst>
  </p:cSld>
  <p:clrMapOvr>
    <a:masterClrMapping/>
  </p:clrMapOvr>
  <p:transition spd="slow">
    <p:push dir="u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1282" y="1476622"/>
            <a:ext cx="5504573" cy="5284752"/>
          </a:xfrm>
        </p:spPr>
        <p:txBody>
          <a:bodyPr>
            <a:noAutofit/>
          </a:bodyPr>
          <a:lstStyle>
            <a:lvl1pPr marL="297762" indent="-297762">
              <a:spcBef>
                <a:spcPts val="1224"/>
              </a:spcBef>
              <a:buClr>
                <a:schemeClr val="tx1"/>
              </a:buClr>
              <a:buFont typeface="Wingdings" pitchFamily="2" charset="2"/>
              <a:buChar char=""/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1pPr>
            <a:lvl2pPr marL="530794" indent="-233031">
              <a:defRPr sz="2039">
                <a:solidFill>
                  <a:schemeClr val="bg1">
                    <a:lumMod val="75000"/>
                    <a:lumOff val="25000"/>
                  </a:schemeClr>
                </a:solidFill>
              </a:defRPr>
            </a:lvl2pPr>
            <a:lvl3pPr marL="699095" indent="-168301">
              <a:tabLst/>
              <a:defRPr sz="2039">
                <a:solidFill>
                  <a:schemeClr val="bg1">
                    <a:lumMod val="75000"/>
                    <a:lumOff val="25000"/>
                  </a:schemeClr>
                </a:solidFill>
              </a:defRPr>
            </a:lvl3pPr>
            <a:lvl4pPr marL="880338" indent="-181245"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4pPr>
            <a:lvl5pPr marL="1048639" indent="-168301">
              <a:tabLst/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405481" y="1476622"/>
            <a:ext cx="5504573" cy="5284752"/>
          </a:xfrm>
        </p:spPr>
        <p:txBody>
          <a:bodyPr>
            <a:noAutofit/>
          </a:bodyPr>
          <a:lstStyle>
            <a:lvl1pPr marL="346310" indent="-346310">
              <a:spcBef>
                <a:spcPts val="1224"/>
              </a:spcBef>
              <a:buFont typeface="Wingdings" pitchFamily="2" charset="2"/>
              <a:buChar char=""/>
              <a:defRPr lang="en-US" sz="3671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47308" indent="-349546">
              <a:defRPr lang="en-US" sz="2039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80338" indent="-349546">
              <a:defRPr lang="en-US" sz="2039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48639" indent="-349546">
              <a:defRPr lang="en-US" sz="2039" kern="1200" spc="0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29885" indent="-349546">
              <a:defRPr lang="en-US" sz="2039" kern="1200" spc="0" baseline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297762" marR="0" lvl="0" indent="-297762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297762" marR="0" lvl="1" indent="-297762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297762" marR="0" lvl="2" indent="-297762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297762" marR="0" lvl="3" indent="-297762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297762" marR="0" lvl="4" indent="-297762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0787768"/>
      </p:ext>
    </p:extLst>
  </p:cSld>
  <p:clrMapOvr>
    <a:masterClrMapping/>
  </p:clrMapOvr>
  <p:transition spd="slow">
    <p:push dir="u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1282" y="1476622"/>
            <a:ext cx="5504573" cy="528475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sz="407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0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237886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466058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07185" indent="0">
              <a:buNone/>
              <a:defRPr sz="2039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405481" y="1476622"/>
            <a:ext cx="5504573" cy="528475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lang="en-US" sz="4079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237" marR="0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39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37886" marR="0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39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69294" marR="0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39" kern="1200" spc="-72" baseline="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00714" marR="0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39" kern="1200" spc="-72" baseline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marL="0" marR="0" lvl="1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econd level</a:t>
            </a:r>
          </a:p>
          <a:p>
            <a:pPr marL="0" marR="0" lvl="2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Third level</a:t>
            </a:r>
          </a:p>
          <a:p>
            <a:pPr marL="0" marR="0" lvl="3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Fourth level</a:t>
            </a:r>
          </a:p>
          <a:p>
            <a:pPr marL="0" marR="0" lvl="4" indent="0" algn="l" defTabSz="93208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7187885"/>
      </p:ext>
    </p:extLst>
  </p:cSld>
  <p:clrMapOvr>
    <a:masterClrMapping/>
  </p:clrMapOvr>
  <p:transition spd="slow">
    <p:push dir="u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284454"/>
      </p:ext>
    </p:extLst>
  </p:cSld>
  <p:clrMapOvr>
    <a:masterClrMapping/>
  </p:clrMapOvr>
  <p:transition spd="slow">
    <p:push dir="u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52851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852851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6459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686459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022387" y="2576874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022387" y="3509477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55284"/>
      </p:ext>
    </p:extLst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266100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66100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3435638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435638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266100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66100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3435638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435638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7783640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440" y="2284961"/>
            <a:ext cx="10056812" cy="1015663"/>
          </a:xfrm>
          <a:noFill/>
        </p:spPr>
        <p:txBody>
          <a:bodyPr tIns="91440" bIns="91440" anchor="b" anchorCtr="0">
            <a:spAutoFit/>
          </a:bodyPr>
          <a:lstStyle>
            <a:lvl1pPr>
              <a:defRPr sz="60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53077" y="3768007"/>
            <a:ext cx="10058401" cy="6832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030877" y="3497262"/>
            <a:ext cx="7312820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53077" y="4290790"/>
            <a:ext cx="10058401" cy="6278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Optional Title Role, Company</a:t>
            </a:r>
          </a:p>
        </p:txBody>
      </p:sp>
    </p:spTree>
    <p:extLst>
      <p:ext uri="{BB962C8B-B14F-4D97-AF65-F5344CB8AC3E}">
        <p14:creationId xmlns:p14="http://schemas.microsoft.com/office/powerpoint/2010/main" val="4263154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3944 -0.00046 L 1.52668E-6 2.19246E-6 " pathEditMode="relative" rAng="0" ptsTypes="AA">
                                      <p:cBhvr>
                                        <p:cTn id="15" dur="6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944 -0.00045 L 1.52668E-6 -3.37267E-6 " pathEditMode="relative" rAng="0" ptsTypes="AA">
                                      <p:cBhvr>
                                        <p:cTn id="21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500"/>
                  </p:stCondLst>
                  <p:childTnLst>
                    <p:animMotion origin="layout" path="M -0.03944 -0.00046 L 1.52668E-6 2.19246E-6 " pathEditMode="relative" rAng="0" ptsTypes="AA">
                      <p:cBhvr>
                        <p:cTn dur="6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0.03944 -0.00045 L 1.52668E-6 -3.37267E-6 " pathEditMode="relative" rAng="0" ptsTypes="AA">
                      <p:cBhvr>
                        <p:cTn dur="600" fill="hold"/>
                        <p:tgtEl>
                          <p:spTgt spid="1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1966" y="23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_box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alpha val="99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52851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852851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6459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686459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022387" y="1422721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022387" y="2355324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52851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52851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86459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7686459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2022387" y="4040506"/>
            <a:ext cx="2724298" cy="932603"/>
          </a:xfr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45711" rIns="45711" bIns="914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447" smtClean="0">
                <a:solidFill>
                  <a:schemeClr val="tx1">
                    <a:alpha val="99000"/>
                  </a:schemeClr>
                </a:solidFill>
                <a:ea typeface="Segoe UI" pitchFamily="34" charset="0"/>
                <a:cs typeface="Segoe UI" pitchFamily="34" charset="0"/>
              </a:defRPr>
            </a:lvl1pPr>
            <a:lvl2pPr>
              <a:defRPr lang="en-US" sz="1937" smtClean="0">
                <a:solidFill>
                  <a:schemeClr val="lt1"/>
                </a:solidFill>
              </a:defRPr>
            </a:lvl2pPr>
            <a:lvl3pPr>
              <a:defRPr lang="en-US" sz="1937" smtClean="0">
                <a:solidFill>
                  <a:schemeClr val="lt1"/>
                </a:solidFill>
              </a:defRPr>
            </a:lvl3pPr>
            <a:lvl4pPr>
              <a:defRPr lang="en-US" sz="1937" smtClean="0">
                <a:solidFill>
                  <a:schemeClr val="lt1"/>
                </a:solidFill>
              </a:defRPr>
            </a:lvl4pPr>
            <a:lvl5pPr>
              <a:defRPr lang="en-US" sz="1937">
                <a:solidFill>
                  <a:schemeClr val="lt1"/>
                </a:solidFill>
              </a:defRPr>
            </a:lvl5pPr>
          </a:lstStyle>
          <a:p>
            <a:pPr marL="0" lvl="0" defTabSz="93181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2022387" y="4973109"/>
            <a:ext cx="2724298" cy="1557448"/>
          </a:xfrm>
          <a:solidFill>
            <a:srgbClr val="C7C7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0" tIns="91420" rIns="45711" bIns="914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1632" dirty="0" smtClean="0">
                <a:solidFill>
                  <a:srgbClr val="0072C6">
                    <a:lumMod val="50000"/>
                    <a:alpha val="99000"/>
                  </a:srgbClr>
                </a:solidFill>
              </a:defRPr>
            </a:lvl1pPr>
          </a:lstStyle>
          <a:p>
            <a:pPr marL="0" lvl="0">
              <a:spcBef>
                <a:spcPts val="1224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4554966"/>
      </p:ext>
    </p:extLst>
  </p:cSld>
  <p:clrMapOvr>
    <a:masterClrMapping/>
  </p:clrMapOvr>
  <p:transition spd="slow">
    <p:push dir="u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8162282"/>
      </p:ext>
    </p:extLst>
  </p:cSld>
  <p:clrMapOvr>
    <a:masterClrMapping/>
  </p:clrMapOvr>
  <p:transition spd="slow">
    <p:push dir="u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hidden">
          <a:xfrm flipV="1">
            <a:off x="2" y="2"/>
            <a:ext cx="12436475" cy="1178952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09" tIns="46609" rIns="46609" bIns="46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1816" fontAlgn="base">
              <a:spcBef>
                <a:spcPct val="0"/>
              </a:spcBef>
              <a:spcAft>
                <a:spcPct val="0"/>
              </a:spcAft>
            </a:pPr>
            <a:endParaRPr lang="en-US" sz="1937" dirty="0" err="1">
              <a:solidFill>
                <a:srgbClr val="FFFFFF">
                  <a:alpha val="99000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>
                    <a:alpha val="99000"/>
                  </a:schemeClr>
                </a:solidFill>
              </a:defRPr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8851" y="1476622"/>
            <a:ext cx="11378776" cy="5284752"/>
          </a:xfrm>
        </p:spPr>
        <p:txBody>
          <a:bodyPr>
            <a:normAutofit/>
          </a:bodyPr>
          <a:lstStyle>
            <a:lvl1pPr marL="0" indent="0">
              <a:buNone/>
              <a:defRPr sz="3263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1pPr>
            <a:lvl2pPr marL="34631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2pPr>
            <a:lvl3pPr marL="5841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3pPr>
            <a:lvl4pPr marL="81398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4pPr>
            <a:lvl5pPr marL="105025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7552294"/>
      </p:ext>
    </p:extLst>
  </p:cSld>
  <p:clrMapOvr>
    <a:masterClrMapping/>
  </p:clrMapOvr>
  <p:transition spd="slow">
    <p:push dir="u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- Prints in GRAYSCAL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4850975"/>
      </p:ext>
    </p:extLst>
  </p:cSld>
  <p:clrMapOvr>
    <a:masterClrMapping/>
  </p:clrMapOvr>
  <p:transition spd="slow">
    <p:push dir="u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31282" y="233155"/>
            <a:ext cx="11378776" cy="678031"/>
          </a:xfrm>
        </p:spPr>
        <p:txBody>
          <a:bodyPr/>
          <a:lstStyle>
            <a:lvl1pPr>
              <a:defRPr sz="4895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29663" y="1476621"/>
            <a:ext cx="11375536" cy="2084319"/>
          </a:xfrm>
          <a:prstGeom prst="rect">
            <a:avLst/>
          </a:prstGeom>
        </p:spPr>
        <p:txBody>
          <a:bodyPr/>
          <a:lstStyle>
            <a:lvl1pPr marL="349546" indent="-349546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40834" indent="-291288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32122" indent="-291288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65151" indent="-23303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98183" indent="-23303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63080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2361" tIns="76177" rIns="152361" bIns="76177" anchor="b" anchorCtr="0">
            <a:noAutofit/>
          </a:bodyPr>
          <a:lstStyle>
            <a:lvl1pPr algn="r">
              <a:buFont typeface="Arial" pitchFamily="34" charset="0"/>
              <a:buNone/>
              <a:defRPr sz="3671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77011590"/>
      </p:ext>
    </p:extLst>
  </p:cSld>
  <p:clrMapOvr>
    <a:masterClrMapping/>
  </p:clrMapOvr>
  <p:transition spd="slow">
    <p:push dir="u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2" y="1654677"/>
            <a:ext cx="8029122" cy="1553826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607">
                <a:gradFill flip="none" rotWithShape="1"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4" y="4429879"/>
            <a:ext cx="6979520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accent1"/>
                    </a:gs>
                    <a:gs pos="86000">
                      <a:schemeClr val="accent1"/>
                    </a:gs>
                  </a:gsLst>
                  <a:lin ang="5400000" scaled="0"/>
                </a:gradFill>
              </a:defRPr>
            </a:lvl1pPr>
            <a:lvl2pPr marL="466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" y="6698083"/>
            <a:ext cx="1744938" cy="270242"/>
          </a:xfrm>
          <a:prstGeom prst="rect">
            <a:avLst/>
          </a:prstGeom>
        </p:spPr>
        <p:txBody>
          <a:bodyPr wrap="none" lIns="93215" tIns="46609" rIns="93215" bIns="46609">
            <a:spAutoFit/>
          </a:bodyPr>
          <a:lstStyle/>
          <a:p>
            <a:pPr defTabSz="932365"/>
            <a:r>
              <a:rPr lang="en-US" sz="1122" dirty="0">
                <a:gradFill>
                  <a:gsLst>
                    <a:gs pos="0">
                      <a:srgbClr val="00BCF2"/>
                    </a:gs>
                    <a:gs pos="86000">
                      <a:srgbClr val="00BCF2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89673" y="194305"/>
            <a:ext cx="2599707" cy="282513"/>
          </a:xfrm>
        </p:spPr>
        <p:txBody>
          <a:bodyPr/>
          <a:lstStyle>
            <a:lvl1pPr marL="0" indent="0">
              <a:buNone/>
              <a:defRPr sz="2039" baseline="0">
                <a:gradFill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746810328"/>
      </p:ext>
    </p:extLst>
  </p:cSld>
  <p:clrMapOvr>
    <a:masterClrMapping/>
  </p:clrMapOvr>
  <p:transition spd="slow">
    <p:push dir="u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, Video etc. &quot;special&quot; slid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9" y="3071962"/>
            <a:ext cx="7955075" cy="155382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4895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3" y="4882623"/>
            <a:ext cx="7184998" cy="470856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defRPr>
            </a:lvl1pPr>
            <a:lvl2pPr marL="466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89682" y="860915"/>
            <a:ext cx="8780689" cy="1406089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196" b="0" i="0" u="none" strike="noStrike" kern="1200" cap="none" spc="-306" normalizeH="0" baseline="0" noProof="0" dirty="0" smtClean="0">
                <a:ln w="11430"/>
                <a:gradFill>
                  <a:gsLst>
                    <a:gs pos="0">
                      <a:schemeClr val="tx1"/>
                    </a:gs>
                    <a:gs pos="88000">
                      <a:schemeClr val="tx1"/>
                    </a:gs>
                  </a:gsLst>
                  <a:lin ang="5400000"/>
                </a:gra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" y="6698083"/>
            <a:ext cx="1744938" cy="270242"/>
          </a:xfrm>
          <a:prstGeom prst="rect">
            <a:avLst/>
          </a:prstGeom>
        </p:spPr>
        <p:txBody>
          <a:bodyPr wrap="none" lIns="93215" tIns="46609" rIns="93215" bIns="46609">
            <a:spAutoFit/>
          </a:bodyPr>
          <a:lstStyle/>
          <a:p>
            <a:pPr defTabSz="932365"/>
            <a:r>
              <a:rPr lang="en-US" sz="1122" dirty="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</p:spTree>
    <p:extLst>
      <p:ext uri="{BB962C8B-B14F-4D97-AF65-F5344CB8AC3E}">
        <p14:creationId xmlns:p14="http://schemas.microsoft.com/office/powerpoint/2010/main" val="581040854"/>
      </p:ext>
    </p:extLst>
  </p:cSld>
  <p:clrMapOvr>
    <a:masterClrMapping/>
  </p:clrMapOvr>
  <p:transition spd="slow">
    <p:push dir="u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616" y="5756483"/>
            <a:ext cx="9769232" cy="37563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39" b="1" cap="all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66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26616" y="6088936"/>
            <a:ext cx="9769232" cy="636104"/>
          </a:xfrm>
          <a:prstGeom prst="rect">
            <a:avLst/>
          </a:prstGeom>
        </p:spPr>
        <p:txBody>
          <a:bodyPr vert="horz" lIns="0">
            <a:normAutofit/>
          </a:bodyPr>
          <a:lstStyle>
            <a:lvl1pPr>
              <a:lnSpc>
                <a:spcPct val="70000"/>
              </a:lnSpc>
              <a:buFontTx/>
              <a:buNone/>
              <a:defRPr kumimoji="0" lang="en-US" sz="1632" b="0" i="0" u="none" strike="noStrike" kern="1200" cap="none" spc="-72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marR="0" lvl="0" indent="0" algn="l" defTabSz="932122" rtl="0" eaLnBrk="1" fontAlgn="auto" latinLnBrk="0" hangingPunct="1">
              <a:lnSpc>
                <a:spcPts val="2447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None/>
              <a:tabLst/>
              <a:defRPr/>
            </a:pPr>
            <a:r>
              <a:rPr lang="en-US" dirty="0"/>
              <a:t>Click to edit presenter </a:t>
            </a:r>
          </a:p>
          <a:p>
            <a:pPr marL="0" marR="0" lvl="0" indent="0" algn="l" defTabSz="932122" rtl="0" eaLnBrk="1" fontAlgn="auto" latinLnBrk="0" hangingPunct="1">
              <a:lnSpc>
                <a:spcPts val="2447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00000"/>
              <a:buFontTx/>
              <a:buNone/>
              <a:tabLst/>
              <a:defRPr/>
            </a:pPr>
            <a:r>
              <a:rPr lang="en-US" dirty="0"/>
              <a:t>and dat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663"/>
            <a:ext cx="12436475" cy="697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068513"/>
      </p:ext>
    </p:extLst>
  </p:cSld>
  <p:clrMapOvr>
    <a:masterClrMapping/>
  </p:clrMapOvr>
  <p:transition spd="slow">
    <p:push dir="u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9672" y="1654677"/>
            <a:ext cx="8029122" cy="1553826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607">
                <a:gradFill flip="none" rotWithShape="1"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9674" y="4429879"/>
            <a:ext cx="6979520" cy="47247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gradFill>
                  <a:gsLst>
                    <a:gs pos="0">
                      <a:schemeClr val="accent1"/>
                    </a:gs>
                    <a:gs pos="86000">
                      <a:schemeClr val="accent1"/>
                    </a:gs>
                  </a:gsLst>
                  <a:lin ang="5400000" scaled="0"/>
                </a:gradFill>
              </a:defRPr>
            </a:lvl1pPr>
            <a:lvl2pPr marL="466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" y="6698083"/>
            <a:ext cx="1744938" cy="270242"/>
          </a:xfrm>
          <a:prstGeom prst="rect">
            <a:avLst/>
          </a:prstGeom>
        </p:spPr>
        <p:txBody>
          <a:bodyPr wrap="none" lIns="93215" tIns="46609" rIns="93215" bIns="46609">
            <a:spAutoFit/>
          </a:bodyPr>
          <a:lstStyle/>
          <a:p>
            <a:pPr defTabSz="932365"/>
            <a:r>
              <a:rPr lang="en-US" sz="1122" dirty="0">
                <a:gradFill>
                  <a:gsLst>
                    <a:gs pos="0">
                      <a:srgbClr val="65BC46"/>
                    </a:gs>
                    <a:gs pos="86000">
                      <a:srgbClr val="65BC46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ww.buildwindows.com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989673" y="194305"/>
            <a:ext cx="2599707" cy="282513"/>
          </a:xfrm>
        </p:spPr>
        <p:txBody>
          <a:bodyPr/>
          <a:lstStyle>
            <a:lvl1pPr marL="0" indent="0">
              <a:buNone/>
              <a:defRPr sz="2039" baseline="0">
                <a:gradFill>
                  <a:gsLst>
                    <a:gs pos="0">
                      <a:schemeClr val="bg2"/>
                    </a:gs>
                    <a:gs pos="8600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1059019578"/>
      </p:ext>
    </p:extLst>
  </p:cSld>
  <p:clrMapOvr>
    <a:masterClrMapping/>
  </p:clrMapOvr>
  <p:transition spd="slow">
    <p:push dir="u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29663" y="1942935"/>
            <a:ext cx="11375535" cy="1616603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344399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slideLayout" Target="../slideLayouts/slideLayout233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5.xml"/><Relationship Id="rId10" Type="http://schemas.openxmlformats.org/officeDocument/2006/relationships/slideLayout" Target="../slideLayouts/slideLayout230.xml"/><Relationship Id="rId19" Type="http://schemas.openxmlformats.org/officeDocument/2006/relationships/image" Target="../media/image24.png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3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50.xml"/><Relationship Id="rId18" Type="http://schemas.openxmlformats.org/officeDocument/2006/relationships/slideLayout" Target="../slideLayouts/slideLayout255.xml"/><Relationship Id="rId26" Type="http://schemas.openxmlformats.org/officeDocument/2006/relationships/slideLayout" Target="../slideLayouts/slideLayout263.xml"/><Relationship Id="rId3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17" Type="http://schemas.openxmlformats.org/officeDocument/2006/relationships/slideLayout" Target="../slideLayouts/slideLayout254.xml"/><Relationship Id="rId25" Type="http://schemas.openxmlformats.org/officeDocument/2006/relationships/slideLayout" Target="../slideLayouts/slideLayout262.xml"/><Relationship Id="rId2" Type="http://schemas.openxmlformats.org/officeDocument/2006/relationships/slideLayout" Target="../slideLayouts/slideLayout239.xml"/><Relationship Id="rId16" Type="http://schemas.openxmlformats.org/officeDocument/2006/relationships/slideLayout" Target="../slideLayouts/slideLayout253.xml"/><Relationship Id="rId20" Type="http://schemas.openxmlformats.org/officeDocument/2006/relationships/slideLayout" Target="../slideLayouts/slideLayout257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24" Type="http://schemas.openxmlformats.org/officeDocument/2006/relationships/slideLayout" Target="../slideLayouts/slideLayout261.xml"/><Relationship Id="rId5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252.xml"/><Relationship Id="rId23" Type="http://schemas.openxmlformats.org/officeDocument/2006/relationships/slideLayout" Target="../slideLayouts/slideLayout260.xml"/><Relationship Id="rId28" Type="http://schemas.openxmlformats.org/officeDocument/2006/relationships/theme" Target="../theme/theme11.xml"/><Relationship Id="rId10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51.xml"/><Relationship Id="rId22" Type="http://schemas.openxmlformats.org/officeDocument/2006/relationships/slideLayout" Target="../slideLayouts/slideLayout259.xml"/><Relationship Id="rId27" Type="http://schemas.openxmlformats.org/officeDocument/2006/relationships/slideLayout" Target="../slideLayouts/slideLayout26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slideLayout" Target="../slideLayouts/slideLayout277.xml"/><Relationship Id="rId18" Type="http://schemas.openxmlformats.org/officeDocument/2006/relationships/slideLayout" Target="../slideLayouts/slideLayout282.xml"/><Relationship Id="rId26" Type="http://schemas.openxmlformats.org/officeDocument/2006/relationships/slideLayout" Target="../slideLayouts/slideLayout290.xml"/><Relationship Id="rId3" Type="http://schemas.openxmlformats.org/officeDocument/2006/relationships/slideLayout" Target="../slideLayouts/slideLayout267.xml"/><Relationship Id="rId21" Type="http://schemas.openxmlformats.org/officeDocument/2006/relationships/slideLayout" Target="../slideLayouts/slideLayout285.xml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17" Type="http://schemas.openxmlformats.org/officeDocument/2006/relationships/slideLayout" Target="../slideLayouts/slideLayout281.xml"/><Relationship Id="rId25" Type="http://schemas.openxmlformats.org/officeDocument/2006/relationships/slideLayout" Target="../slideLayouts/slideLayout289.xml"/><Relationship Id="rId2" Type="http://schemas.openxmlformats.org/officeDocument/2006/relationships/slideLayout" Target="../slideLayouts/slideLayout266.xml"/><Relationship Id="rId16" Type="http://schemas.openxmlformats.org/officeDocument/2006/relationships/slideLayout" Target="../slideLayouts/slideLayout280.xml"/><Relationship Id="rId20" Type="http://schemas.openxmlformats.org/officeDocument/2006/relationships/slideLayout" Target="../slideLayouts/slideLayout284.xml"/><Relationship Id="rId29" Type="http://schemas.openxmlformats.org/officeDocument/2006/relationships/slideLayout" Target="../slideLayouts/slideLayout293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24" Type="http://schemas.openxmlformats.org/officeDocument/2006/relationships/slideLayout" Target="../slideLayouts/slideLayout288.xml"/><Relationship Id="rId5" Type="http://schemas.openxmlformats.org/officeDocument/2006/relationships/slideLayout" Target="../slideLayouts/slideLayout269.xml"/><Relationship Id="rId15" Type="http://schemas.openxmlformats.org/officeDocument/2006/relationships/slideLayout" Target="../slideLayouts/slideLayout279.xml"/><Relationship Id="rId23" Type="http://schemas.openxmlformats.org/officeDocument/2006/relationships/slideLayout" Target="../slideLayouts/slideLayout287.xml"/><Relationship Id="rId28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74.xml"/><Relationship Id="rId19" Type="http://schemas.openxmlformats.org/officeDocument/2006/relationships/slideLayout" Target="../slideLayouts/slideLayout283.xml"/><Relationship Id="rId31" Type="http://schemas.openxmlformats.org/officeDocument/2006/relationships/image" Target="../media/image24.png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Relationship Id="rId14" Type="http://schemas.openxmlformats.org/officeDocument/2006/relationships/slideLayout" Target="../slideLayouts/slideLayout278.xml"/><Relationship Id="rId22" Type="http://schemas.openxmlformats.org/officeDocument/2006/relationships/slideLayout" Target="../slideLayouts/slideLayout286.xml"/><Relationship Id="rId27" Type="http://schemas.openxmlformats.org/officeDocument/2006/relationships/slideLayout" Target="../slideLayouts/slideLayout291.xml"/><Relationship Id="rId30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1.xml"/><Relationship Id="rId13" Type="http://schemas.openxmlformats.org/officeDocument/2006/relationships/slideLayout" Target="../slideLayouts/slideLayout306.xml"/><Relationship Id="rId18" Type="http://schemas.openxmlformats.org/officeDocument/2006/relationships/slideLayout" Target="../slideLayouts/slideLayout311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296.xml"/><Relationship Id="rId21" Type="http://schemas.openxmlformats.org/officeDocument/2006/relationships/slideLayout" Target="../slideLayouts/slideLayout314.xml"/><Relationship Id="rId7" Type="http://schemas.openxmlformats.org/officeDocument/2006/relationships/slideLayout" Target="../slideLayouts/slideLayout300.xml"/><Relationship Id="rId12" Type="http://schemas.openxmlformats.org/officeDocument/2006/relationships/slideLayout" Target="../slideLayouts/slideLayout305.xml"/><Relationship Id="rId17" Type="http://schemas.openxmlformats.org/officeDocument/2006/relationships/slideLayout" Target="../slideLayouts/slideLayout310.xml"/><Relationship Id="rId25" Type="http://schemas.openxmlformats.org/officeDocument/2006/relationships/theme" Target="../theme/theme13.xml"/><Relationship Id="rId2" Type="http://schemas.openxmlformats.org/officeDocument/2006/relationships/slideLayout" Target="../slideLayouts/slideLayout295.xml"/><Relationship Id="rId16" Type="http://schemas.openxmlformats.org/officeDocument/2006/relationships/slideLayout" Target="../slideLayouts/slideLayout309.xml"/><Relationship Id="rId20" Type="http://schemas.openxmlformats.org/officeDocument/2006/relationships/slideLayout" Target="../slideLayouts/slideLayout313.xml"/><Relationship Id="rId1" Type="http://schemas.openxmlformats.org/officeDocument/2006/relationships/slideLayout" Target="../slideLayouts/slideLayout294.xml"/><Relationship Id="rId6" Type="http://schemas.openxmlformats.org/officeDocument/2006/relationships/slideLayout" Target="../slideLayouts/slideLayout299.xml"/><Relationship Id="rId11" Type="http://schemas.openxmlformats.org/officeDocument/2006/relationships/slideLayout" Target="../slideLayouts/slideLayout304.xml"/><Relationship Id="rId24" Type="http://schemas.openxmlformats.org/officeDocument/2006/relationships/slideLayout" Target="../slideLayouts/slideLayout317.xml"/><Relationship Id="rId5" Type="http://schemas.openxmlformats.org/officeDocument/2006/relationships/slideLayout" Target="../slideLayouts/slideLayout298.xml"/><Relationship Id="rId15" Type="http://schemas.openxmlformats.org/officeDocument/2006/relationships/slideLayout" Target="../slideLayouts/slideLayout308.xml"/><Relationship Id="rId23" Type="http://schemas.openxmlformats.org/officeDocument/2006/relationships/slideLayout" Target="../slideLayouts/slideLayout316.xml"/><Relationship Id="rId10" Type="http://schemas.openxmlformats.org/officeDocument/2006/relationships/slideLayout" Target="../slideLayouts/slideLayout303.xml"/><Relationship Id="rId19" Type="http://schemas.openxmlformats.org/officeDocument/2006/relationships/slideLayout" Target="../slideLayouts/slideLayout312.xml"/><Relationship Id="rId4" Type="http://schemas.openxmlformats.org/officeDocument/2006/relationships/slideLayout" Target="../slideLayouts/slideLayout297.xml"/><Relationship Id="rId9" Type="http://schemas.openxmlformats.org/officeDocument/2006/relationships/slideLayout" Target="../slideLayouts/slideLayout302.xml"/><Relationship Id="rId14" Type="http://schemas.openxmlformats.org/officeDocument/2006/relationships/slideLayout" Target="../slideLayouts/slideLayout307.xml"/><Relationship Id="rId22" Type="http://schemas.openxmlformats.org/officeDocument/2006/relationships/slideLayout" Target="../slideLayouts/slideLayout3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41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slideLayout" Target="../slideLayouts/slideLayout161.xml"/><Relationship Id="rId18" Type="http://schemas.openxmlformats.org/officeDocument/2006/relationships/slideLayout" Target="../slideLayouts/slideLayout166.xml"/><Relationship Id="rId26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51.xml"/><Relationship Id="rId21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0.xml"/><Relationship Id="rId17" Type="http://schemas.openxmlformats.org/officeDocument/2006/relationships/slideLayout" Target="../slideLayouts/slideLayout165.xml"/><Relationship Id="rId25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50.xml"/><Relationship Id="rId16" Type="http://schemas.openxmlformats.org/officeDocument/2006/relationships/slideLayout" Target="../slideLayouts/slideLayout164.xml"/><Relationship Id="rId20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24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63.xml"/><Relationship Id="rId23" Type="http://schemas.openxmlformats.org/officeDocument/2006/relationships/slideLayout" Target="../slideLayouts/slideLayout171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58.xml"/><Relationship Id="rId19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slideLayout" Target="../slideLayouts/slideLayout162.xml"/><Relationship Id="rId22" Type="http://schemas.openxmlformats.org/officeDocument/2006/relationships/slideLayout" Target="../slideLayouts/slideLayout170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slideLayout" Target="../slideLayouts/slideLayout187.xml"/><Relationship Id="rId18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84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slideLayout" Target="../slideLayouts/slideLayout205.xml"/><Relationship Id="rId18" Type="http://schemas.openxmlformats.org/officeDocument/2006/relationships/slideLayout" Target="../slideLayouts/slideLayout210.xml"/><Relationship Id="rId26" Type="http://schemas.openxmlformats.org/officeDocument/2006/relationships/slideLayout" Target="../slideLayouts/slideLayout218.xml"/><Relationship Id="rId3" Type="http://schemas.openxmlformats.org/officeDocument/2006/relationships/slideLayout" Target="../slideLayouts/slideLayout195.xml"/><Relationship Id="rId21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199.xml"/><Relationship Id="rId12" Type="http://schemas.openxmlformats.org/officeDocument/2006/relationships/slideLayout" Target="../slideLayouts/slideLayout204.xml"/><Relationship Id="rId17" Type="http://schemas.openxmlformats.org/officeDocument/2006/relationships/slideLayout" Target="../slideLayouts/slideLayout209.xml"/><Relationship Id="rId25" Type="http://schemas.openxmlformats.org/officeDocument/2006/relationships/slideLayout" Target="../slideLayouts/slideLayout217.xml"/><Relationship Id="rId2" Type="http://schemas.openxmlformats.org/officeDocument/2006/relationships/slideLayout" Target="../slideLayouts/slideLayout194.xml"/><Relationship Id="rId16" Type="http://schemas.openxmlformats.org/officeDocument/2006/relationships/slideLayout" Target="../slideLayouts/slideLayout208.xml"/><Relationship Id="rId20" Type="http://schemas.openxmlformats.org/officeDocument/2006/relationships/slideLayout" Target="../slideLayouts/slideLayout212.xml"/><Relationship Id="rId29" Type="http://schemas.openxmlformats.org/officeDocument/2006/relationships/theme" Target="../theme/theme9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24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197.xml"/><Relationship Id="rId15" Type="http://schemas.openxmlformats.org/officeDocument/2006/relationships/slideLayout" Target="../slideLayouts/slideLayout207.xml"/><Relationship Id="rId23" Type="http://schemas.openxmlformats.org/officeDocument/2006/relationships/slideLayout" Target="../slideLayouts/slideLayout215.xml"/><Relationship Id="rId28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02.xml"/><Relationship Id="rId19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Relationship Id="rId14" Type="http://schemas.openxmlformats.org/officeDocument/2006/relationships/slideLayout" Target="../slideLayouts/slideLayout206.xml"/><Relationship Id="rId22" Type="http://schemas.openxmlformats.org/officeDocument/2006/relationships/slideLayout" Target="../slideLayouts/slideLayout214.xml"/><Relationship Id="rId27" Type="http://schemas.openxmlformats.org/officeDocument/2006/relationships/slideLayout" Target="../slideLayouts/slideLayout219.xml"/><Relationship Id="rId30" Type="http://schemas.openxmlformats.org/officeDocument/2006/relationships/image" Target="../media/image2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72966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</p:sldLayoutIdLst>
  <p:transition spd="slow">
    <p:push dir="u"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0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0" r:id="rId1"/>
    <p:sldLayoutId id="2147484771" r:id="rId2"/>
    <p:sldLayoutId id="2147484772" r:id="rId3"/>
    <p:sldLayoutId id="2147484773" r:id="rId4"/>
    <p:sldLayoutId id="2147484774" r:id="rId5"/>
    <p:sldLayoutId id="2147484775" r:id="rId6"/>
    <p:sldLayoutId id="2147484776" r:id="rId7"/>
    <p:sldLayoutId id="2147484777" r:id="rId8"/>
    <p:sldLayoutId id="2147484778" r:id="rId9"/>
    <p:sldLayoutId id="2147484779" r:id="rId10"/>
    <p:sldLayoutId id="2147484780" r:id="rId11"/>
    <p:sldLayoutId id="2147484781" r:id="rId12"/>
    <p:sldLayoutId id="2147484782" r:id="rId13"/>
    <p:sldLayoutId id="2147484783" r:id="rId14"/>
    <p:sldLayoutId id="2147484784" r:id="rId15"/>
    <p:sldLayoutId id="2147484785" r:id="rId16"/>
    <p:sldLayoutId id="2147484786" r:id="rId17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7" cy="2159483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2787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802" r:id="rId1"/>
    <p:sldLayoutId id="2147484803" r:id="rId2"/>
    <p:sldLayoutId id="2147484804" r:id="rId3"/>
    <p:sldLayoutId id="2147484805" r:id="rId4"/>
    <p:sldLayoutId id="2147484806" r:id="rId5"/>
    <p:sldLayoutId id="2147484807" r:id="rId6"/>
    <p:sldLayoutId id="2147484808" r:id="rId7"/>
    <p:sldLayoutId id="2147484809" r:id="rId8"/>
    <p:sldLayoutId id="2147484810" r:id="rId9"/>
    <p:sldLayoutId id="2147484811" r:id="rId10"/>
    <p:sldLayoutId id="2147484812" r:id="rId11"/>
    <p:sldLayoutId id="2147484813" r:id="rId12"/>
    <p:sldLayoutId id="2147484814" r:id="rId13"/>
    <p:sldLayoutId id="2147484815" r:id="rId14"/>
    <p:sldLayoutId id="2147484816" r:id="rId15"/>
    <p:sldLayoutId id="2147484817" r:id="rId16"/>
    <p:sldLayoutId id="2147484818" r:id="rId17"/>
    <p:sldLayoutId id="2147484819" r:id="rId18"/>
    <p:sldLayoutId id="2147484820" r:id="rId19"/>
    <p:sldLayoutId id="2147484821" r:id="rId20"/>
    <p:sldLayoutId id="2147484822" r:id="rId21"/>
    <p:sldLayoutId id="2147484823" r:id="rId22"/>
    <p:sldLayoutId id="2147484824" r:id="rId23"/>
    <p:sldLayoutId id="2147484825" r:id="rId24"/>
    <p:sldLayoutId id="2147484826" r:id="rId25"/>
    <p:sldLayoutId id="2147484827" r:id="rId26"/>
    <p:sldLayoutId id="2147484828" r:id="rId27"/>
  </p:sldLayoutIdLst>
  <p:transition>
    <p:fade/>
  </p:transition>
  <p:txStyles>
    <p:titleStyle>
      <a:lvl1pPr algn="l" defTabSz="932502" rtl="0" eaLnBrk="1" latinLnBrk="0" hangingPunct="1">
        <a:lnSpc>
          <a:spcPct val="90000"/>
        </a:lnSpc>
        <a:spcBef>
          <a:spcPct val="0"/>
        </a:spcBef>
        <a:buNone/>
        <a:defRPr lang="en-US" sz="4798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11" marR="0" indent="-342811" algn="l" defTabSz="93250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49" marR="0" indent="-241238" algn="l" defTabSz="93250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894" marR="0" indent="-228542" algn="l" defTabSz="93250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435" marR="0" indent="-228542" algn="l" defTabSz="93250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6977" marR="0" indent="-228542" algn="l" defTabSz="93250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379" indent="-233127" algn="l" defTabSz="93250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631" indent="-233127" algn="l" defTabSz="93250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6882" indent="-233127" algn="l" defTabSz="93250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134" indent="-233127" algn="l" defTabSz="93250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66251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32502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98753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65002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331256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97506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63756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730009" algn="l" defTabSz="93250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2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5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754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0" r:id="rId1"/>
    <p:sldLayoutId id="2147484831" r:id="rId2"/>
    <p:sldLayoutId id="2147484832" r:id="rId3"/>
    <p:sldLayoutId id="2147484833" r:id="rId4"/>
    <p:sldLayoutId id="2147484834" r:id="rId5"/>
    <p:sldLayoutId id="2147484835" r:id="rId6"/>
    <p:sldLayoutId id="2147484836" r:id="rId7"/>
    <p:sldLayoutId id="2147484837" r:id="rId8"/>
    <p:sldLayoutId id="2147484838" r:id="rId9"/>
    <p:sldLayoutId id="2147484839" r:id="rId10"/>
    <p:sldLayoutId id="2147484840" r:id="rId11"/>
    <p:sldLayoutId id="2147484841" r:id="rId12"/>
    <p:sldLayoutId id="2147484842" r:id="rId13"/>
    <p:sldLayoutId id="2147484843" r:id="rId14"/>
    <p:sldLayoutId id="2147484844" r:id="rId15"/>
    <p:sldLayoutId id="2147484845" r:id="rId16"/>
    <p:sldLayoutId id="2147484846" r:id="rId17"/>
    <p:sldLayoutId id="2147484847" r:id="rId18"/>
    <p:sldLayoutId id="2147484848" r:id="rId19"/>
    <p:sldLayoutId id="2147484849" r:id="rId20"/>
    <p:sldLayoutId id="2147484850" r:id="rId21"/>
    <p:sldLayoutId id="2147484851" r:id="rId22"/>
    <p:sldLayoutId id="2147484852" r:id="rId23"/>
    <p:sldLayoutId id="2147484853" r:id="rId24"/>
    <p:sldLayoutId id="2147484854" r:id="rId25"/>
    <p:sldLayoutId id="2147484855" r:id="rId26"/>
    <p:sldLayoutId id="2147484856" r:id="rId27"/>
    <p:sldLayoutId id="2147484857" r:id="rId28"/>
    <p:sldLayoutId id="2147484858" r:id="rId29"/>
  </p:sldLayoutIdLst>
  <p:transition spd="slow">
    <p:push dir="u"/>
  </p:transition>
  <p:txStyles>
    <p:titleStyle>
      <a:lvl1pPr algn="l" defTabSz="932384" rtl="0" eaLnBrk="1" latinLnBrk="0" hangingPunct="1">
        <a:lnSpc>
          <a:spcPct val="90000"/>
        </a:lnSpc>
        <a:spcBef>
          <a:spcPct val="0"/>
        </a:spcBef>
        <a:buNone/>
        <a:defRPr lang="en-US" sz="4798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768" marR="0" indent="-342768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3975" marR="0" indent="-241206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792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305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6817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055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248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6441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2633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91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84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576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768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96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152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343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537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8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1" r:id="rId1"/>
    <p:sldLayoutId id="2147484862" r:id="rId2"/>
    <p:sldLayoutId id="2147484863" r:id="rId3"/>
    <p:sldLayoutId id="2147484864" r:id="rId4"/>
    <p:sldLayoutId id="2147484865" r:id="rId5"/>
    <p:sldLayoutId id="2147484866" r:id="rId6"/>
    <p:sldLayoutId id="2147484867" r:id="rId7"/>
    <p:sldLayoutId id="2147484868" r:id="rId8"/>
    <p:sldLayoutId id="2147484869" r:id="rId9"/>
    <p:sldLayoutId id="2147484870" r:id="rId10"/>
    <p:sldLayoutId id="2147484871" r:id="rId11"/>
    <p:sldLayoutId id="2147484872" r:id="rId12"/>
    <p:sldLayoutId id="2147484873" r:id="rId13"/>
    <p:sldLayoutId id="2147484874" r:id="rId14"/>
    <p:sldLayoutId id="2147484875" r:id="rId15"/>
    <p:sldLayoutId id="2147484876" r:id="rId16"/>
    <p:sldLayoutId id="2147484877" r:id="rId17"/>
    <p:sldLayoutId id="2147484878" r:id="rId18"/>
    <p:sldLayoutId id="2147484879" r:id="rId19"/>
    <p:sldLayoutId id="2147484880" r:id="rId20"/>
    <p:sldLayoutId id="2147484881" r:id="rId21"/>
    <p:sldLayoutId id="2147484882" r:id="rId22"/>
    <p:sldLayoutId id="2147484883" r:id="rId23"/>
    <p:sldLayoutId id="2147484884" r:id="rId24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979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7" r:id="rId1"/>
    <p:sldLayoutId id="2147484458" r:id="rId2"/>
    <p:sldLayoutId id="2147484459" r:id="rId3"/>
    <p:sldLayoutId id="2147484460" r:id="rId4"/>
    <p:sldLayoutId id="2147484461" r:id="rId5"/>
    <p:sldLayoutId id="2147484462" r:id="rId6"/>
    <p:sldLayoutId id="2147484463" r:id="rId7"/>
    <p:sldLayoutId id="2147484464" r:id="rId8"/>
    <p:sldLayoutId id="2147484465" r:id="rId9"/>
    <p:sldLayoutId id="2147484466" r:id="rId10"/>
    <p:sldLayoutId id="2147484467" r:id="rId11"/>
    <p:sldLayoutId id="2147484468" r:id="rId12"/>
    <p:sldLayoutId id="2147484469" r:id="rId13"/>
    <p:sldLayoutId id="2147484470" r:id="rId14"/>
    <p:sldLayoutId id="2147484471" r:id="rId15"/>
    <p:sldLayoutId id="2147484472" r:id="rId16"/>
    <p:sldLayoutId id="2147484473" r:id="rId17"/>
    <p:sldLayoutId id="2147484474" r:id="rId18"/>
    <p:sldLayoutId id="2147484476" r:id="rId19"/>
    <p:sldLayoutId id="2147484477" r:id="rId20"/>
    <p:sldLayoutId id="2147484478" r:id="rId21"/>
    <p:sldLayoutId id="2147484479" r:id="rId22"/>
    <p:sldLayoutId id="2147484480" r:id="rId23"/>
  </p:sldLayoutIdLst>
  <p:transition spd="slow">
    <p:push dir="u"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9660" y="233152"/>
            <a:ext cx="11375537" cy="772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31280" y="1476622"/>
            <a:ext cx="11378776" cy="5284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851844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82" r:id="rId1"/>
    <p:sldLayoutId id="2147484483" r:id="rId2"/>
    <p:sldLayoutId id="2147484484" r:id="rId3"/>
    <p:sldLayoutId id="2147484485" r:id="rId4"/>
    <p:sldLayoutId id="2147484486" r:id="rId5"/>
    <p:sldLayoutId id="2147484487" r:id="rId6"/>
    <p:sldLayoutId id="2147484488" r:id="rId7"/>
    <p:sldLayoutId id="2147484489" r:id="rId8"/>
    <p:sldLayoutId id="2147484490" r:id="rId9"/>
    <p:sldLayoutId id="2147484491" r:id="rId10"/>
    <p:sldLayoutId id="2147484492" r:id="rId11"/>
    <p:sldLayoutId id="2147484493" r:id="rId12"/>
    <p:sldLayoutId id="2147484494" r:id="rId13"/>
    <p:sldLayoutId id="2147484495" r:id="rId14"/>
    <p:sldLayoutId id="2147484496" r:id="rId15"/>
    <p:sldLayoutId id="2147484497" r:id="rId16"/>
    <p:sldLayoutId id="2147484498" r:id="rId17"/>
    <p:sldLayoutId id="2147484499" r:id="rId18"/>
    <p:sldLayoutId id="2147484500" r:id="rId19"/>
    <p:sldLayoutId id="2147484501" r:id="rId20"/>
    <p:sldLayoutId id="2147484502" r:id="rId21"/>
    <p:sldLayoutId id="2147484503" r:id="rId22"/>
    <p:sldLayoutId id="2147484504" r:id="rId23"/>
    <p:sldLayoutId id="2147484505" r:id="rId24"/>
    <p:sldLayoutId id="2147484506" r:id="rId25"/>
    <p:sldLayoutId id="2147484507" r:id="rId26"/>
    <p:sldLayoutId id="2147484508" r:id="rId27"/>
    <p:sldLayoutId id="2147484509" r:id="rId28"/>
  </p:sldLayoutIdLst>
  <p:transition spd="slow">
    <p:push dir="u"/>
  </p:transition>
  <p:txStyles>
    <p:titleStyle>
      <a:lvl1pPr algn="l" defTabSz="932388" rtl="0" eaLnBrk="1" latinLnBrk="0" hangingPunct="1">
        <a:lnSpc>
          <a:spcPct val="90000"/>
        </a:lnSpc>
        <a:spcBef>
          <a:spcPct val="0"/>
        </a:spcBef>
        <a:buNone/>
        <a:defRPr lang="en-US" sz="5610" b="0" kern="1200" cap="none" spc="-102" baseline="0" dirty="0" smtClean="0">
          <a:ln w="3175">
            <a:noFill/>
          </a:ln>
          <a:solidFill>
            <a:schemeClr val="bg2">
              <a:alpha val="99000"/>
            </a:schemeClr>
          </a:solidFill>
          <a:effectLst/>
          <a:latin typeface="+mj-lt"/>
          <a:ea typeface="+mn-ea"/>
          <a:cs typeface="Arial" charset="0"/>
        </a:defRPr>
      </a:lvl1pPr>
    </p:titleStyle>
    <p:bodyStyle>
      <a:lvl1pPr marL="346422" marR="0" indent="-346422" algn="l" defTabSz="9323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72" kern="1200" spc="-72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1pPr>
      <a:lvl2pPr marL="584384" marR="0" indent="-237963" algn="l" defTabSz="9323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48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2pPr>
      <a:lvl3pPr marL="814254" marR="0" indent="-229869" algn="l" defTabSz="9323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814254" algn="l"/>
        </a:tabLst>
        <a:defRPr sz="2448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3pPr>
      <a:lvl4pPr marL="1050599" marR="0" indent="-236342" algn="l" defTabSz="9323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40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4pPr>
      <a:lvl5pPr marL="1280467" marR="0" indent="-229869" algn="l" defTabSz="93238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80467" algn="l"/>
        </a:tabLst>
        <a:defRPr sz="2040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5pPr>
      <a:lvl6pPr marL="2564070" indent="-233098" algn="l" defTabSz="932388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030260" indent="-233098" algn="l" defTabSz="932388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496455" indent="-233098" algn="l" defTabSz="932388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3962648" indent="-233098" algn="l" defTabSz="932388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1pPr>
      <a:lvl2pPr marL="466193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2pPr>
      <a:lvl3pPr marL="932388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3pPr>
      <a:lvl4pPr marL="1398581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4pPr>
      <a:lvl5pPr marL="1864776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5pPr>
      <a:lvl6pPr marL="2330967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6pPr>
      <a:lvl7pPr marL="2797163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7pPr>
      <a:lvl8pPr marL="3263357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8pPr>
      <a:lvl9pPr marL="3729552" algn="l" defTabSz="932388" rtl="0" eaLnBrk="1" latinLnBrk="0" hangingPunct="1">
        <a:defRPr sz="19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9663" y="233155"/>
            <a:ext cx="11375536" cy="7722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31282" y="1476622"/>
            <a:ext cx="11378776" cy="5284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09708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81" r:id="rId1"/>
    <p:sldLayoutId id="2147484582" r:id="rId2"/>
    <p:sldLayoutId id="2147484583" r:id="rId3"/>
    <p:sldLayoutId id="2147484584" r:id="rId4"/>
    <p:sldLayoutId id="2147484585" r:id="rId5"/>
    <p:sldLayoutId id="2147484586" r:id="rId6"/>
    <p:sldLayoutId id="2147484587" r:id="rId7"/>
    <p:sldLayoutId id="2147484588" r:id="rId8"/>
    <p:sldLayoutId id="2147484589" r:id="rId9"/>
    <p:sldLayoutId id="2147484590" r:id="rId10"/>
    <p:sldLayoutId id="2147484591" r:id="rId11"/>
    <p:sldLayoutId id="2147484592" r:id="rId12"/>
    <p:sldLayoutId id="2147484593" r:id="rId13"/>
    <p:sldLayoutId id="2147484594" r:id="rId14"/>
    <p:sldLayoutId id="2147484595" r:id="rId15"/>
    <p:sldLayoutId id="2147484596" r:id="rId16"/>
    <p:sldLayoutId id="2147484597" r:id="rId17"/>
    <p:sldLayoutId id="2147484598" r:id="rId18"/>
    <p:sldLayoutId id="2147484599" r:id="rId19"/>
    <p:sldLayoutId id="2147484600" r:id="rId20"/>
    <p:sldLayoutId id="2147484601" r:id="rId21"/>
    <p:sldLayoutId id="2147484602" r:id="rId22"/>
    <p:sldLayoutId id="2147484603" r:id="rId23"/>
    <p:sldLayoutId id="2147484604" r:id="rId24"/>
    <p:sldLayoutId id="2147484605" r:id="rId25"/>
    <p:sldLayoutId id="2147484606" r:id="rId26"/>
    <p:sldLayoutId id="2147484607" r:id="rId27"/>
    <p:sldLayoutId id="2147484608" r:id="rId28"/>
  </p:sldLayoutIdLst>
  <p:transition spd="slow">
    <p:push dir="u"/>
  </p:transition>
  <p:txStyles>
    <p:titleStyle>
      <a:lvl1pPr algn="l" defTabSz="932086" rtl="0" eaLnBrk="1" latinLnBrk="0" hangingPunct="1">
        <a:lnSpc>
          <a:spcPct val="90000"/>
        </a:lnSpc>
        <a:spcBef>
          <a:spcPct val="0"/>
        </a:spcBef>
        <a:buNone/>
        <a:defRPr lang="en-US" sz="5607" b="0" kern="1200" cap="none" spc="-102" baseline="0" dirty="0" smtClean="0">
          <a:ln w="3175">
            <a:noFill/>
          </a:ln>
          <a:solidFill>
            <a:schemeClr val="bg2">
              <a:alpha val="99000"/>
            </a:schemeClr>
          </a:solidFill>
          <a:effectLst/>
          <a:latin typeface="+mj-lt"/>
          <a:ea typeface="+mn-ea"/>
          <a:cs typeface="Arial" charset="0"/>
        </a:defRPr>
      </a:lvl1pPr>
    </p:titleStyle>
    <p:bodyStyle>
      <a:lvl1pPr marL="346310" marR="0" indent="-346310" algn="l" defTabSz="93208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71" kern="1200" spc="-72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1pPr>
      <a:lvl2pPr marL="584195" marR="0" indent="-237886" algn="l" defTabSz="93208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47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2pPr>
      <a:lvl3pPr marL="813989" marR="0" indent="-229794" algn="l" defTabSz="93208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813989" algn="l"/>
        </a:tabLst>
        <a:defRPr sz="2447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3pPr>
      <a:lvl4pPr marL="1050257" marR="0" indent="-236265" algn="l" defTabSz="93208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39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4pPr>
      <a:lvl5pPr marL="1280051" marR="0" indent="-229794" algn="l" defTabSz="93208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80051" algn="l"/>
        </a:tabLst>
        <a:defRPr sz="2039" kern="1200" spc="0" baseline="0">
          <a:solidFill>
            <a:schemeClr val="bg1">
              <a:lumMod val="75000"/>
              <a:lumOff val="25000"/>
              <a:alpha val="99000"/>
            </a:schemeClr>
          </a:solidFill>
          <a:latin typeface="+mn-lt"/>
          <a:ea typeface="+mn-ea"/>
          <a:cs typeface="+mn-cs"/>
        </a:defRPr>
      </a:lvl5pPr>
      <a:lvl6pPr marL="2563238" indent="-233022" algn="l" defTabSz="932086" rtl="0" eaLnBrk="1" latinLnBrk="0" hangingPunct="1">
        <a:spcBef>
          <a:spcPct val="20000"/>
        </a:spcBef>
        <a:buFont typeface="Arial" pitchFamily="34" charset="0"/>
        <a:buChar char="•"/>
        <a:defRPr sz="2039" kern="1200">
          <a:solidFill>
            <a:schemeClr val="tx1"/>
          </a:solidFill>
          <a:latin typeface="+mn-lt"/>
          <a:ea typeface="+mn-ea"/>
          <a:cs typeface="+mn-cs"/>
        </a:defRPr>
      </a:lvl6pPr>
      <a:lvl7pPr marL="3029276" indent="-233022" algn="l" defTabSz="932086" rtl="0" eaLnBrk="1" latinLnBrk="0" hangingPunct="1">
        <a:spcBef>
          <a:spcPct val="20000"/>
        </a:spcBef>
        <a:buFont typeface="Arial" pitchFamily="34" charset="0"/>
        <a:buChar char="•"/>
        <a:defRPr sz="2039" kern="1200">
          <a:solidFill>
            <a:schemeClr val="tx1"/>
          </a:solidFill>
          <a:latin typeface="+mn-lt"/>
          <a:ea typeface="+mn-ea"/>
          <a:cs typeface="+mn-cs"/>
        </a:defRPr>
      </a:lvl7pPr>
      <a:lvl8pPr marL="3495321" indent="-233022" algn="l" defTabSz="932086" rtl="0" eaLnBrk="1" latinLnBrk="0" hangingPunct="1">
        <a:spcBef>
          <a:spcPct val="20000"/>
        </a:spcBef>
        <a:buFont typeface="Arial" pitchFamily="34" charset="0"/>
        <a:buChar char="•"/>
        <a:defRPr sz="2039" kern="1200">
          <a:solidFill>
            <a:schemeClr val="tx1"/>
          </a:solidFill>
          <a:latin typeface="+mn-lt"/>
          <a:ea typeface="+mn-ea"/>
          <a:cs typeface="+mn-cs"/>
        </a:defRPr>
      </a:lvl8pPr>
      <a:lvl9pPr marL="3961362" indent="-233022" algn="l" defTabSz="932086" rtl="0" eaLnBrk="1" latinLnBrk="0" hangingPunct="1">
        <a:spcBef>
          <a:spcPct val="20000"/>
        </a:spcBef>
        <a:buFont typeface="Arial" pitchFamily="34" charset="0"/>
        <a:buChar char="•"/>
        <a:defRPr sz="203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1pPr>
      <a:lvl2pPr marL="466041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2pPr>
      <a:lvl3pPr marL="932086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128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4pPr>
      <a:lvl5pPr marL="1864171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5pPr>
      <a:lvl6pPr marL="2330209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6pPr>
      <a:lvl7pPr marL="2796256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7pPr>
      <a:lvl8pPr marL="3262298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8pPr>
      <a:lvl9pPr marL="3728341" algn="l" defTabSz="932086" rtl="0" eaLnBrk="1" latinLnBrk="0" hangingPunct="1">
        <a:defRPr sz="19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6481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19" r:id="rId1"/>
    <p:sldLayoutId id="2147484620" r:id="rId2"/>
    <p:sldLayoutId id="2147484621" r:id="rId3"/>
    <p:sldLayoutId id="2147484622" r:id="rId4"/>
    <p:sldLayoutId id="2147484623" r:id="rId5"/>
    <p:sldLayoutId id="2147484624" r:id="rId6"/>
    <p:sldLayoutId id="2147484625" r:id="rId7"/>
    <p:sldLayoutId id="2147484626" r:id="rId8"/>
    <p:sldLayoutId id="2147484627" r:id="rId9"/>
    <p:sldLayoutId id="2147484628" r:id="rId10"/>
    <p:sldLayoutId id="2147484629" r:id="rId11"/>
    <p:sldLayoutId id="2147484630" r:id="rId12"/>
    <p:sldLayoutId id="2147484631" r:id="rId13"/>
    <p:sldLayoutId id="2147484632" r:id="rId14"/>
    <p:sldLayoutId id="2147484633" r:id="rId15"/>
    <p:sldLayoutId id="2147484634" r:id="rId16"/>
    <p:sldLayoutId id="2147484635" r:id="rId17"/>
    <p:sldLayoutId id="2147484636" r:id="rId18"/>
    <p:sldLayoutId id="2147484637" r:id="rId19"/>
    <p:sldLayoutId id="2147484638" r:id="rId20"/>
    <p:sldLayoutId id="2147484639" r:id="rId21"/>
    <p:sldLayoutId id="2147484640" r:id="rId22"/>
    <p:sldLayoutId id="2147484641" r:id="rId23"/>
    <p:sldLayoutId id="2147484642" r:id="rId24"/>
    <p:sldLayoutId id="2147484643" r:id="rId25"/>
    <p:sldLayoutId id="2147484644" r:id="rId26"/>
  </p:sldLayoutIdLst>
  <p:transition spd="slow">
    <p:push dir="u"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115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6" r:id="rId1"/>
    <p:sldLayoutId id="2147484647" r:id="rId2"/>
    <p:sldLayoutId id="2147484648" r:id="rId3"/>
    <p:sldLayoutId id="2147484649" r:id="rId4"/>
    <p:sldLayoutId id="2147484650" r:id="rId5"/>
    <p:sldLayoutId id="2147484651" r:id="rId6"/>
    <p:sldLayoutId id="2147484652" r:id="rId7"/>
    <p:sldLayoutId id="2147484653" r:id="rId8"/>
    <p:sldLayoutId id="2147484654" r:id="rId9"/>
    <p:sldLayoutId id="2147484655" r:id="rId10"/>
    <p:sldLayoutId id="2147484656" r:id="rId11"/>
    <p:sldLayoutId id="2147484657" r:id="rId12"/>
    <p:sldLayoutId id="2147484658" r:id="rId13"/>
    <p:sldLayoutId id="2147484659" r:id="rId14"/>
    <p:sldLayoutId id="2147484660" r:id="rId15"/>
    <p:sldLayoutId id="2147484661" r:id="rId16"/>
    <p:sldLayoutId id="2147484662" r:id="rId17"/>
  </p:sldLayoutIdLst>
  <p:transition spd="slow">
    <p:push dir="u"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7" cy="2159483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2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636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65" r:id="rId1"/>
    <p:sldLayoutId id="2147484666" r:id="rId2"/>
    <p:sldLayoutId id="2147484667" r:id="rId3"/>
    <p:sldLayoutId id="2147484668" r:id="rId4"/>
    <p:sldLayoutId id="2147484669" r:id="rId5"/>
    <p:sldLayoutId id="2147484670" r:id="rId6"/>
    <p:sldLayoutId id="2147484671" r:id="rId7"/>
    <p:sldLayoutId id="2147484672" r:id="rId8"/>
    <p:sldLayoutId id="2147484673" r:id="rId9"/>
    <p:sldLayoutId id="2147484674" r:id="rId10"/>
    <p:sldLayoutId id="2147484675" r:id="rId11"/>
    <p:sldLayoutId id="2147484676" r:id="rId12"/>
    <p:sldLayoutId id="2147484677" r:id="rId13"/>
    <p:sldLayoutId id="2147484678" r:id="rId14"/>
    <p:sldLayoutId id="2147484679" r:id="rId15"/>
    <p:sldLayoutId id="2147484680" r:id="rId16"/>
    <p:sldLayoutId id="2147484681" r:id="rId17"/>
    <p:sldLayoutId id="2147484682" r:id="rId18"/>
    <p:sldLayoutId id="2147484683" r:id="rId19"/>
    <p:sldLayoutId id="2147484684" r:id="rId20"/>
    <p:sldLayoutId id="2147484685" r:id="rId21"/>
    <p:sldLayoutId id="2147484686" r:id="rId22"/>
    <p:sldLayoutId id="2147484687" r:id="rId23"/>
    <p:sldLayoutId id="2147484688" r:id="rId24"/>
    <p:sldLayoutId id="2147484689" r:id="rId25"/>
    <p:sldLayoutId id="2147484690" r:id="rId26"/>
  </p:sldLayoutIdLst>
  <p:transition spd="slow">
    <p:push dir="u"/>
  </p:transition>
  <p:txStyles>
    <p:titleStyle>
      <a:lvl1pPr algn="l" defTabSz="932681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77" marR="0" indent="-342877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161" marR="0" indent="-241284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048" marR="0" indent="-228586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632" marR="0" indent="-228586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218" marR="0" indent="-228586" algn="l" defTabSz="932681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872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213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554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895" indent="-233171" algn="l" defTabSz="9326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66341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32681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99022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65361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331704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98043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64383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730725" algn="l" defTabSz="93268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3650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93" r:id="rId1"/>
    <p:sldLayoutId id="2147484694" r:id="rId2"/>
    <p:sldLayoutId id="2147484695" r:id="rId3"/>
    <p:sldLayoutId id="2147484696" r:id="rId4"/>
    <p:sldLayoutId id="2147484697" r:id="rId5"/>
    <p:sldLayoutId id="2147484698" r:id="rId6"/>
    <p:sldLayoutId id="2147484699" r:id="rId7"/>
    <p:sldLayoutId id="2147484700" r:id="rId8"/>
    <p:sldLayoutId id="2147484701" r:id="rId9"/>
    <p:sldLayoutId id="2147484702" r:id="rId10"/>
    <p:sldLayoutId id="2147484703" r:id="rId11"/>
    <p:sldLayoutId id="2147484704" r:id="rId12"/>
    <p:sldLayoutId id="2147484705" r:id="rId13"/>
    <p:sldLayoutId id="2147484706" r:id="rId14"/>
    <p:sldLayoutId id="2147484707" r:id="rId15"/>
    <p:sldLayoutId id="2147484708" r:id="rId16"/>
    <p:sldLayoutId id="2147484709" r:id="rId17"/>
    <p:sldLayoutId id="2147484710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29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2" r:id="rId1"/>
    <p:sldLayoutId id="2147484713" r:id="rId2"/>
    <p:sldLayoutId id="2147484714" r:id="rId3"/>
    <p:sldLayoutId id="2147484715" r:id="rId4"/>
    <p:sldLayoutId id="2147484716" r:id="rId5"/>
    <p:sldLayoutId id="2147484717" r:id="rId6"/>
    <p:sldLayoutId id="2147484718" r:id="rId7"/>
    <p:sldLayoutId id="2147484719" r:id="rId8"/>
    <p:sldLayoutId id="2147484720" r:id="rId9"/>
    <p:sldLayoutId id="2147484721" r:id="rId10"/>
    <p:sldLayoutId id="2147484722" r:id="rId11"/>
    <p:sldLayoutId id="2147484723" r:id="rId12"/>
    <p:sldLayoutId id="2147484724" r:id="rId13"/>
    <p:sldLayoutId id="2147484725" r:id="rId14"/>
    <p:sldLayoutId id="2147484726" r:id="rId15"/>
    <p:sldLayoutId id="2147484727" r:id="rId16"/>
    <p:sldLayoutId id="2147484728" r:id="rId17"/>
    <p:sldLayoutId id="2147484729" r:id="rId18"/>
    <p:sldLayoutId id="2147484730" r:id="rId19"/>
    <p:sldLayoutId id="2147484731" r:id="rId20"/>
    <p:sldLayoutId id="2147484732" r:id="rId21"/>
    <p:sldLayoutId id="2147484733" r:id="rId22"/>
    <p:sldLayoutId id="2147484734" r:id="rId23"/>
    <p:sldLayoutId id="2147484735" r:id="rId24"/>
    <p:sldLayoutId id="2147484736" r:id="rId25"/>
    <p:sldLayoutId id="2147484737" r:id="rId26"/>
    <p:sldLayoutId id="2147484738" r:id="rId27"/>
    <p:sldLayoutId id="2147484739" r:id="rId28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software.intel.com/en-us/intel-realsense-sdk/documentation" TargetMode="External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rosoft.com/en-us/software-download/windows10" TargetMode="External"/><Relationship Id="rId7" Type="http://schemas.openxmlformats.org/officeDocument/2006/relationships/hyperlink" Target="https://go.microsoft.com/fwlink/?LinkId=698769" TargetMode="External"/><Relationship Id="rId2" Type="http://schemas.openxmlformats.org/officeDocument/2006/relationships/hyperlink" Target="https://developer.microsoft.com/en-us/windows/downloads/virtual-machines" TargetMode="Externa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github.com/Microsoft/Windows-universal-samples" TargetMode="External"/><Relationship Id="rId5" Type="http://schemas.openxmlformats.org/officeDocument/2006/relationships/hyperlink" Target="https://go.microsoft.com/fwlink/?LinkID=698771" TargetMode="External"/><Relationship Id="rId4" Type="http://schemas.openxmlformats.org/officeDocument/2006/relationships/hyperlink" Target="https://www.visualstudio.com/downloads/download-visual-studio-vs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icrosoft.com/en-us/download/details.aspx?id=44561" TargetMode="Externa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0737" y="2068512"/>
            <a:ext cx="57150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367345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27714" y="767284"/>
            <a:ext cx="8400120" cy="545995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tel RealSense F200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Video, Depth, Infra-Red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Facial Tracking &amp; Identification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Hand Track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Object Track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3D Scann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&amp; more over 0.5m-1.0m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C#, C++, Unity, Java, JavaScript, Unity</a:t>
            </a:r>
          </a:p>
        </p:txBody>
      </p:sp>
    </p:spTree>
    <p:extLst>
      <p:ext uri="{BB962C8B-B14F-4D97-AF65-F5344CB8AC3E}">
        <p14:creationId xmlns:p14="http://schemas.microsoft.com/office/powerpoint/2010/main" val="1576950148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6700" y="190500"/>
            <a:ext cx="4662174" cy="104336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hat you ne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6087" y="1400175"/>
            <a:ext cx="11544300" cy="4899803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 PC or Mac running Windows 8.1 (x64) or Windows 10</a:t>
            </a:r>
            <a:endParaRPr lang="en-GB" sz="2800" dirty="0">
              <a:latin typeface="+mj-lt"/>
            </a:endParaRP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can get you to Windows 10 as per slide 5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needs to be a pretty decent spec + USB 3.0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Visual Studio 2010-2015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can get you to Visual Studio 2015 Update 2 as per slide 5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Intel RealSense F200 driver and SDK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have 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hlinkClick r:id="rId2"/>
              </a:rPr>
              <a:t>these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downloaded for you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you can build desktop apps with these (UWP support shaky!)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amples - installed with the SDK</a:t>
            </a:r>
          </a:p>
        </p:txBody>
      </p:sp>
    </p:spTree>
    <p:extLst>
      <p:ext uri="{BB962C8B-B14F-4D97-AF65-F5344CB8AC3E}">
        <p14:creationId xmlns:p14="http://schemas.microsoft.com/office/powerpoint/2010/main" val="1350047389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82892" y="2660110"/>
            <a:ext cx="4489755" cy="167430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alSense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Quick ‘Hello World’</a:t>
            </a:r>
          </a:p>
        </p:txBody>
      </p:sp>
    </p:spTree>
    <p:extLst>
      <p:ext uri="{BB962C8B-B14F-4D97-AF65-F5344CB8AC3E}">
        <p14:creationId xmlns:p14="http://schemas.microsoft.com/office/powerpoint/2010/main" val="3399751388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510875" y="2563160"/>
            <a:ext cx="5433796" cy="186820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have fun </a:t>
            </a: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sym typeface="Wingdings" panose="05000000000000000000" pitchFamily="2" charset="2"/>
              </a:rPr>
              <a:t>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sym typeface="Wingdings" panose="05000000000000000000" pitchFamily="2" charset="2"/>
              </a:rPr>
              <a:t>ask if you’re stuck</a:t>
            </a:r>
            <a:endParaRPr lang="en-GB" sz="4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41081773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0737" y="2068512"/>
            <a:ext cx="57150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82728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33425" y="514350"/>
            <a:ext cx="4625305" cy="104336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getting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313549" y="2150740"/>
            <a:ext cx="3809376" cy="269304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indows 10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inect V2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RealSens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847975" y="5827337"/>
            <a:ext cx="9108647" cy="7940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3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ke Taulty, Microsoft, @</a:t>
            </a:r>
            <a:r>
              <a:rPr lang="en-GB" sz="36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taulty</a:t>
            </a:r>
            <a:r>
              <a:rPr lang="en-GB" sz="3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, mtaulty.com</a:t>
            </a:r>
            <a:endParaRPr lang="en-GB" sz="5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64507433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998571" y="2354268"/>
            <a:ext cx="10439333" cy="2285988"/>
            <a:chOff x="998571" y="2085975"/>
            <a:chExt cx="10439333" cy="2285988"/>
          </a:xfrm>
        </p:grpSpPr>
        <p:sp>
          <p:nvSpPr>
            <p:cNvPr id="2" name="TextBox 1"/>
            <p:cNvSpPr txBox="1"/>
            <p:nvPr/>
          </p:nvSpPr>
          <p:spPr>
            <a:xfrm>
              <a:off x="2338360" y="2085975"/>
              <a:ext cx="7759753" cy="10433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5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these slides are on github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998571" y="3467100"/>
              <a:ext cx="10439333" cy="904863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GB" sz="4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http://github.com/mtaulty/recognitionha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0336227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376202" y="2029168"/>
            <a:ext cx="7703134" cy="2936188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indows 10 UWP App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peech (needs microphone)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Face (needs webcam)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Pen &amp; Ink (~needs digitizer/tablet)</a:t>
            </a:r>
          </a:p>
        </p:txBody>
      </p:sp>
    </p:spTree>
    <p:extLst>
      <p:ext uri="{BB962C8B-B14F-4D97-AF65-F5344CB8AC3E}">
        <p14:creationId xmlns:p14="http://schemas.microsoft.com/office/powerpoint/2010/main" val="259475421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6700" y="190500"/>
            <a:ext cx="4662174" cy="104336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hat you ne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6087" y="1400175"/>
            <a:ext cx="11544300" cy="5386090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 PC or Mac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have a few Surface Pro3s to loan if your team needs one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indows 10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have some </a:t>
            </a:r>
            <a:r>
              <a:rPr lang="en-GB" sz="2800" dirty="0">
                <a:solidFill>
                  <a:srgbClr val="FF0000"/>
                </a:solidFill>
                <a:latin typeface="+mj-lt"/>
                <a:hlinkClick r:id="rId2"/>
              </a:rPr>
              <a:t>virtual machines</a:t>
            </a:r>
            <a:r>
              <a:rPr lang="en-GB" sz="2800" dirty="0">
                <a:solidFill>
                  <a:srgbClr val="FF0000"/>
                </a:solidFill>
                <a:latin typeface="+mj-lt"/>
              </a:rPr>
              <a:t> </a:t>
            </a:r>
            <a:r>
              <a:rPr lang="en-GB" sz="2800" dirty="0">
                <a:latin typeface="+mj-lt"/>
              </a:rPr>
              <a:t>(Parallels, VMWare, Hyper-V, </a:t>
            </a:r>
            <a:r>
              <a:rPr lang="en-GB" sz="2800" dirty="0" err="1">
                <a:latin typeface="+mj-lt"/>
              </a:rPr>
              <a:t>VBox</a:t>
            </a:r>
            <a:r>
              <a:rPr lang="en-GB" sz="2800" dirty="0">
                <a:latin typeface="+mj-lt"/>
              </a:rPr>
              <a:t>)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We have </a:t>
            </a:r>
            <a:r>
              <a:rPr lang="en-GB" sz="2800" dirty="0">
                <a:latin typeface="+mj-lt"/>
                <a:hlinkClick r:id="rId3"/>
              </a:rPr>
              <a:t>the bits</a:t>
            </a:r>
            <a:r>
              <a:rPr lang="en-GB" sz="2800" dirty="0">
                <a:latin typeface="+mj-lt"/>
              </a:rPr>
              <a:t> to upgrade you (64-bit, W10 Pro/Home)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Visual Studio 2015 Update 2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We have the </a:t>
            </a:r>
            <a:r>
              <a:rPr lang="en-GB" sz="2800" dirty="0">
                <a:latin typeface="+mj-lt"/>
                <a:hlinkClick r:id="rId4"/>
              </a:rPr>
              <a:t>community edition</a:t>
            </a:r>
            <a:r>
              <a:rPr lang="en-GB" sz="2800" dirty="0">
                <a:latin typeface="+mj-lt"/>
              </a:rPr>
              <a:t> for you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Windows 10 SDK and Samples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We have the </a:t>
            </a:r>
            <a:r>
              <a:rPr lang="en-GB" sz="2800" dirty="0">
                <a:latin typeface="+mj-lt"/>
                <a:hlinkClick r:id="rId5"/>
              </a:rPr>
              <a:t>standalone SDK</a:t>
            </a:r>
            <a:r>
              <a:rPr lang="en-GB" sz="2800" dirty="0">
                <a:latin typeface="+mj-lt"/>
              </a:rPr>
              <a:t>, the samples are on </a:t>
            </a:r>
            <a:r>
              <a:rPr lang="en-GB" sz="2800" dirty="0">
                <a:latin typeface="+mj-lt"/>
                <a:hlinkClick r:id="rId6"/>
              </a:rPr>
              <a:t>github</a:t>
            </a:r>
            <a:endParaRPr lang="en-GB" sz="2800" dirty="0">
              <a:latin typeface="+mj-lt"/>
            </a:endParaRP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(Optional) Windows 10 Mobile Emulators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800" dirty="0">
                <a:latin typeface="+mj-lt"/>
              </a:rPr>
              <a:t>Grab </a:t>
            </a:r>
            <a:r>
              <a:rPr lang="en-GB" sz="2800" dirty="0">
                <a:latin typeface="+mj-lt"/>
                <a:hlinkClick r:id="rId7"/>
              </a:rPr>
              <a:t>them</a:t>
            </a:r>
            <a:r>
              <a:rPr lang="en-GB" sz="2800" dirty="0">
                <a:latin typeface="+mj-lt"/>
              </a:rPr>
              <a:t> from the web, failed to find an </a:t>
            </a:r>
            <a:r>
              <a:rPr lang="en-GB" sz="2800">
                <a:latin typeface="+mj-lt"/>
              </a:rPr>
              <a:t>offline installer</a:t>
            </a:r>
            <a:endParaRPr lang="en-GB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15699079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82892" y="2660110"/>
            <a:ext cx="4489755" cy="167430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indows 10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Quick ‘Hello World’</a:t>
            </a:r>
          </a:p>
        </p:txBody>
      </p:sp>
    </p:spTree>
    <p:extLst>
      <p:ext uri="{BB962C8B-B14F-4D97-AF65-F5344CB8AC3E}">
        <p14:creationId xmlns:p14="http://schemas.microsoft.com/office/powerpoint/2010/main" val="2906829012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41751" y="1398226"/>
            <a:ext cx="5572038" cy="482901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inect V2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irectional Audio, Video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Depth, Infra-Red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Facial Track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keletal Tracking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&amp; more over 1-8m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C++, C#, JavaScript</a:t>
            </a:r>
          </a:p>
        </p:txBody>
      </p:sp>
    </p:spTree>
    <p:extLst>
      <p:ext uri="{BB962C8B-B14F-4D97-AF65-F5344CB8AC3E}">
        <p14:creationId xmlns:p14="http://schemas.microsoft.com/office/powerpoint/2010/main" val="1912619374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6700" y="190500"/>
            <a:ext cx="4662174" cy="1043363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hat you ne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6087" y="1400175"/>
            <a:ext cx="11544300" cy="541994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A PC or Mac running Windows 8.0, 8.1 or Windows 10</a:t>
            </a:r>
            <a:endParaRPr lang="en-GB" sz="2800" dirty="0">
              <a:latin typeface="+mj-lt"/>
            </a:endParaRP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can get you to Windows 10 as per slide 5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needs to be a pretty decent spec (see 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hlinkClick r:id="rId2"/>
              </a:rPr>
              <a:t>here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) + USB 3.0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Visual Studio 2012, 2013 or 2015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can get you to Visual Studio 2015 Update 2 as per slide 5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inect for Windows V2.0 SDK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we have 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  <a:hlinkClick r:id="rId2"/>
              </a:rPr>
              <a:t>this</a:t>
            </a: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 downloaded for you</a:t>
            </a:r>
          </a:p>
          <a:p>
            <a:pPr marL="809271" lvl="1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you can build full desktop or Windows 8.1 apps with this</a:t>
            </a:r>
          </a:p>
          <a:p>
            <a:pPr marL="1275642" lvl="2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you’ll need the Windows/Phone 8.1 tools if you want to build apps</a:t>
            </a:r>
            <a:endParaRPr lang="en-GB" sz="3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latin typeface="+mj-lt"/>
            </a:endParaRP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Samples - installed with the SDK</a:t>
            </a:r>
          </a:p>
        </p:txBody>
      </p:sp>
    </p:spTree>
    <p:extLst>
      <p:ext uri="{BB962C8B-B14F-4D97-AF65-F5344CB8AC3E}">
        <p14:creationId xmlns:p14="http://schemas.microsoft.com/office/powerpoint/2010/main" val="1691386077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82892" y="2660110"/>
            <a:ext cx="4489755" cy="167430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Kinect V2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GB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Quick ‘Hello World’</a:t>
            </a:r>
          </a:p>
        </p:txBody>
      </p:sp>
    </p:spTree>
    <p:extLst>
      <p:ext uri="{BB962C8B-B14F-4D97-AF65-F5344CB8AC3E}">
        <p14:creationId xmlns:p14="http://schemas.microsoft.com/office/powerpoint/2010/main" val="577115502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UILD CHARCOAL BACKGROUND">
  <a:themeElements>
    <a:clrScheme name="Custom 1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FFFFFF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059D507E-C456-4974-83A1-394505850BFA}"/>
    </a:ext>
  </a:extLst>
</a:theme>
</file>

<file path=ppt/theme/theme10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11.xml><?xml version="1.0" encoding="utf-8"?>
<a:theme xmlns:a="http://schemas.openxmlformats.org/drawingml/2006/main" name="2_BUILD CHARCOAL BACKGROUND">
  <a:themeElements>
    <a:clrScheme name="build 2015 colors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059D507E-C456-4974-83A1-394505850BFA}"/>
    </a:ext>
  </a:extLst>
</a:theme>
</file>

<file path=ppt/theme/theme12.xml><?xml version="1.0" encoding="utf-8"?>
<a:theme xmlns:a="http://schemas.openxmlformats.org/drawingml/2006/main" name="1_BUILD WHITE TEMPLATE">
  <a:themeElements>
    <a:clrScheme name="build 2015 colors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49F2FD16-922B-4720-BA86-EE1768600449}"/>
    </a:ext>
  </a:extLst>
</a:theme>
</file>

<file path=ppt/theme/theme13.xml><?xml version="1.0" encoding="utf-8"?>
<a:theme xmlns:a="http://schemas.openxmlformats.org/drawingml/2006/main" name="LIGHT COLOR TEMPLATE">
  <a:themeElements>
    <a:clrScheme name="Custom 19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VID_TT_BRAND_16-9_LIGHT_Oct_2014.potx" id="{8D89426A-98D9-452E-82D2-38C97A5E7430}" vid="{43CB4C6F-FCEB-4846-9678-AF1F381D6EF6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3.xml><?xml version="1.0" encoding="utf-8"?>
<a:theme xmlns:a="http://schemas.openxmlformats.org/drawingml/2006/main" name="Metro_TT_Blue_16x9_02-12">
  <a:themeElements>
    <a:clrScheme name="DPE">
      <a:dk1>
        <a:srgbClr val="000000"/>
      </a:dk1>
      <a:lt1>
        <a:srgbClr val="FFFFFF"/>
      </a:lt1>
      <a:dk2>
        <a:srgbClr val="0072C6"/>
      </a:dk2>
      <a:lt2>
        <a:srgbClr val="61DDFF"/>
      </a:lt2>
      <a:accent1>
        <a:srgbClr val="00BCF2"/>
      </a:accent1>
      <a:accent2>
        <a:srgbClr val="7FBA00"/>
      </a:accent2>
      <a:accent3>
        <a:srgbClr val="FF8C00"/>
      </a:accent3>
      <a:accent4>
        <a:srgbClr val="B4009E"/>
      </a:accent4>
      <a:accent5>
        <a:srgbClr val="55D455"/>
      </a:accent5>
      <a:accent6>
        <a:srgbClr val="FFB900"/>
      </a:accent6>
      <a:hlink>
        <a:srgbClr val="003963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oval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8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7_Metro_TT_Blue_16x9_02-12">
  <a:themeElements>
    <a:clrScheme name="DPE">
      <a:dk1>
        <a:srgbClr val="000000"/>
      </a:dk1>
      <a:lt1>
        <a:srgbClr val="FFFFFF"/>
      </a:lt1>
      <a:dk2>
        <a:srgbClr val="0072C6"/>
      </a:dk2>
      <a:lt2>
        <a:srgbClr val="61DDFF"/>
      </a:lt2>
      <a:accent1>
        <a:srgbClr val="00BCF2"/>
      </a:accent1>
      <a:accent2>
        <a:srgbClr val="7FBA00"/>
      </a:accent2>
      <a:accent3>
        <a:srgbClr val="FF8C00"/>
      </a:accent3>
      <a:accent4>
        <a:srgbClr val="B4009E"/>
      </a:accent4>
      <a:accent5>
        <a:srgbClr val="55D455"/>
      </a:accent5>
      <a:accent6>
        <a:srgbClr val="FFB900"/>
      </a:accent6>
      <a:hlink>
        <a:srgbClr val="003963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oval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8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BUILD CHARCOAL BACKGROUND">
  <a:themeElements>
    <a:clrScheme name="build 2015 colors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059D507E-C456-4974-83A1-394505850BFA}"/>
    </a:ext>
  </a:extLst>
</a:theme>
</file>

<file path=ppt/theme/theme6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3A433C9C-0258-4CEB-A2D7-A4E910E04DB2}" vid="{8200ECBB-BA74-406B-85E6-41B24335E625}"/>
    </a:ext>
  </a:extLst>
</a:theme>
</file>

<file path=ppt/theme/theme7.xml><?xml version="1.0" encoding="utf-8"?>
<a:theme xmlns:a="http://schemas.openxmlformats.org/drawingml/2006/main" name="8_BUILD CHARCOAL BACKGROUND">
  <a:themeElements>
    <a:clrScheme name="build 2015 colors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059D507E-C456-4974-83A1-394505850BFA}"/>
    </a:ext>
  </a:extLst>
</a:theme>
</file>

<file path=ppt/theme/theme8.xml><?xml version="1.0" encoding="utf-8"?>
<a:theme xmlns:a="http://schemas.openxmlformats.org/drawingml/2006/main" name="5-30599_GA_Summit_2015_Template">
  <a:themeElements>
    <a:clrScheme name="Custom 5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80D6"/>
      </a:accent1>
      <a:accent2>
        <a:srgbClr val="D83B01"/>
      </a:accent2>
      <a:accent3>
        <a:srgbClr val="5C2D91"/>
      </a:accent3>
      <a:accent4>
        <a:srgbClr val="00188F"/>
      </a:accent4>
      <a:accent5>
        <a:srgbClr val="B4009E"/>
      </a:accent5>
      <a:accent6>
        <a:srgbClr val="107C10"/>
      </a:accent6>
      <a:hlink>
        <a:srgbClr val="0080D6"/>
      </a:hlink>
      <a:folHlink>
        <a:srgbClr val="7F7F7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uture Decoded 2015 - PowerPoint Template v03" id="{95D78855-08BA-4FC7-90E4-212449047686}" vid="{8DAF7B0A-2C6E-4B4E-BA27-A1218E1D8D9C}"/>
    </a:ext>
  </a:extLst>
</a:theme>
</file>

<file path=ppt/theme/theme9.xml><?xml version="1.0" encoding="utf-8"?>
<a:theme xmlns:a="http://schemas.openxmlformats.org/drawingml/2006/main" name="BUILD WHITE TEMPLATE">
  <a:themeElements>
    <a:clrScheme name="build 2015 colors">
      <a:dk1>
        <a:srgbClr val="333333"/>
      </a:dk1>
      <a:lt1>
        <a:srgbClr val="FFFFFF"/>
      </a:lt1>
      <a:dk2>
        <a:srgbClr val="0078D7"/>
      </a:dk2>
      <a:lt2>
        <a:srgbClr val="ECECEC"/>
      </a:lt2>
      <a:accent1>
        <a:srgbClr val="0078D7"/>
      </a:accent1>
      <a:accent2>
        <a:srgbClr val="6E6D71"/>
      </a:accent2>
      <a:accent3>
        <a:srgbClr val="00BCF2"/>
      </a:accent3>
      <a:accent4>
        <a:srgbClr val="6BB700"/>
      </a:accent4>
      <a:accent5>
        <a:srgbClr val="ABC4C1"/>
      </a:accent5>
      <a:accent6>
        <a:srgbClr val="FF4343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-2015_Keynote-Template_v3" id="{16D16FD6-82B1-4517-AB6B-BD72623FF067}" vid="{49F2FD16-922B-4720-BA86-EE176860044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nvergence_2015_General_Session_16x9</Template>
  <TotalTime>0</TotalTime>
  <Words>408</Words>
  <Application>Microsoft Office PowerPoint</Application>
  <PresentationFormat>Custom</PresentationFormat>
  <Paragraphs>67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6" baseType="lpstr">
      <vt:lpstr>MS PGothic</vt:lpstr>
      <vt:lpstr>Arial</vt:lpstr>
      <vt:lpstr>Avenir LT Pro 45 Book</vt:lpstr>
      <vt:lpstr>Consolas</vt:lpstr>
      <vt:lpstr>Segoe UI</vt:lpstr>
      <vt:lpstr>Segoe UI Light</vt:lpstr>
      <vt:lpstr>Segoe UI Semilight</vt:lpstr>
      <vt:lpstr>Wingdings</vt:lpstr>
      <vt:lpstr>1_BUILD CHARCOAL BACKGROUND</vt:lpstr>
      <vt:lpstr>2_5-30629_Build_Template_WHITE</vt:lpstr>
      <vt:lpstr>Metro_TT_Blue_16x9_02-12</vt:lpstr>
      <vt:lpstr>7_Metro_TT_Blue_16x9_02-12</vt:lpstr>
      <vt:lpstr>BUILD CHARCOAL BACKGROUND</vt:lpstr>
      <vt:lpstr>1_5-30629_Build_Template_WHITE</vt:lpstr>
      <vt:lpstr>8_BUILD CHARCOAL BACKGROUND</vt:lpstr>
      <vt:lpstr>5-30599_GA_Summit_2015_Template</vt:lpstr>
      <vt:lpstr>BUILD WHITE TEMPLATE</vt:lpstr>
      <vt:lpstr>3_5-30629_Build_Template_WHITE</vt:lpstr>
      <vt:lpstr>2_BUILD CHARCOAL BACKGROUND</vt:lpstr>
      <vt:lpstr>1_BUILD WHITE TEMPLATE</vt:lpstr>
      <vt:lpstr>LIGHT COLOR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5-11-02T17:27:44Z</dcterms:created>
  <dcterms:modified xsi:type="dcterms:W3CDTF">2016-06-23T10:48:57Z</dcterms:modified>
</cp:coreProperties>
</file>